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notesSlides/notesSlide1.xml" ContentType="application/vnd.openxmlformats-officedocument.presentationml.notesSlide+xml"/>
  <Override PartName="/ppt/tags/tag141.xml" ContentType="application/vnd.openxmlformats-officedocument.presentationml.tags+xml"/>
  <Override PartName="/ppt/notesSlides/notesSlide2.xml" ContentType="application/vnd.openxmlformats-officedocument.presentationml.notesSlide+xml"/>
  <Override PartName="/ppt/tags/tag142.xml" ContentType="application/vnd.openxmlformats-officedocument.presentationml.tags+xml"/>
  <Override PartName="/ppt/notesSlides/notesSlide3.xml" ContentType="application/vnd.openxmlformats-officedocument.presentationml.notesSlide+xml"/>
  <Override PartName="/ppt/tags/tag143.xml" ContentType="application/vnd.openxmlformats-officedocument.presentationml.tags+xml"/>
  <Override PartName="/ppt/notesSlides/notesSlide4.xml" ContentType="application/vnd.openxmlformats-officedocument.presentationml.notesSlide+xml"/>
  <Override PartName="/ppt/tags/tag144.xml" ContentType="application/vnd.openxmlformats-officedocument.presentationml.tags+xml"/>
  <Override PartName="/ppt/notesSlides/notesSlide5.xml" ContentType="application/vnd.openxmlformats-officedocument.presentationml.notesSlide+xml"/>
  <Override PartName="/ppt/tags/tag145.xml" ContentType="application/vnd.openxmlformats-officedocument.presentationml.tags+xml"/>
  <Override PartName="/ppt/notesSlides/notesSlide6.xml" ContentType="application/vnd.openxmlformats-officedocument.presentationml.notesSlide+xml"/>
  <Override PartName="/ppt/tags/tag146.xml" ContentType="application/vnd.openxmlformats-officedocument.presentationml.tags+xml"/>
  <Override PartName="/ppt/notesSlides/notesSlide7.xml" ContentType="application/vnd.openxmlformats-officedocument.presentationml.notesSlide+xml"/>
  <Override PartName="/ppt/tags/tag147.xml" ContentType="application/vnd.openxmlformats-officedocument.presentationml.tags+xml"/>
  <Override PartName="/ppt/notesSlides/notesSlide8.xml" ContentType="application/vnd.openxmlformats-officedocument.presentationml.notesSlide+xml"/>
  <Override PartName="/ppt/tags/tag148.xml" ContentType="application/vnd.openxmlformats-officedocument.presentationml.tags+xml"/>
  <Override PartName="/ppt/notesSlides/notesSlide9.xml" ContentType="application/vnd.openxmlformats-officedocument.presentationml.notesSlide+xml"/>
  <Override PartName="/ppt/tags/tag149.xml" ContentType="application/vnd.openxmlformats-officedocument.presentationml.tags+xml"/>
  <Override PartName="/ppt/notesSlides/notesSlide10.xml" ContentType="application/vnd.openxmlformats-officedocument.presentationml.notesSlide+xml"/>
  <Override PartName="/ppt/tags/tag150.xml" ContentType="application/vnd.openxmlformats-officedocument.presentationml.tags+xml"/>
  <Override PartName="/ppt/notesSlides/notesSlide11.xml" ContentType="application/vnd.openxmlformats-officedocument.presentationml.notesSlide+xml"/>
  <Override PartName="/ppt/tags/tag151.xml" ContentType="application/vnd.openxmlformats-officedocument.presentationml.tags+xml"/>
  <Override PartName="/ppt/notesSlides/notesSlide12.xml" ContentType="application/vnd.openxmlformats-officedocument.presentationml.notesSlide+xml"/>
  <Override PartName="/ppt/tags/tag152.xml" ContentType="application/vnd.openxmlformats-officedocument.presentationml.tags+xml"/>
  <Override PartName="/ppt/notesSlides/notesSlide13.xml" ContentType="application/vnd.openxmlformats-officedocument.presentationml.notesSlide+xml"/>
  <Override PartName="/ppt/tags/tag153.xml" ContentType="application/vnd.openxmlformats-officedocument.presentationml.tags+xml"/>
  <Override PartName="/ppt/notesSlides/notesSlide14.xml" ContentType="application/vnd.openxmlformats-officedocument.presentationml.notesSlide+xml"/>
  <Override PartName="/ppt/tags/tag154.xml" ContentType="application/vnd.openxmlformats-officedocument.presentationml.tags+xml"/>
  <Override PartName="/ppt/notesSlides/notesSlide15.xml" ContentType="application/vnd.openxmlformats-officedocument.presentationml.notesSlide+xml"/>
  <Override PartName="/ppt/tags/tag155.xml" ContentType="application/vnd.openxmlformats-officedocument.presentationml.tags+xml"/>
  <Override PartName="/ppt/notesSlides/notesSlide16.xml" ContentType="application/vnd.openxmlformats-officedocument.presentationml.notesSlide+xml"/>
  <Override PartName="/ppt/tags/tag156.xml" ContentType="application/vnd.openxmlformats-officedocument.presentationml.tags+xml"/>
  <Override PartName="/ppt/notesSlides/notesSlide17.xml" ContentType="application/vnd.openxmlformats-officedocument.presentationml.notesSlide+xml"/>
  <Override PartName="/ppt/tags/tag157.xml" ContentType="application/vnd.openxmlformats-officedocument.presentationml.tags+xml"/>
  <Override PartName="/ppt/notesSlides/notesSlide18.xml" ContentType="application/vnd.openxmlformats-officedocument.presentationml.notesSlide+xml"/>
  <Override PartName="/ppt/tags/tag158.xml" ContentType="application/vnd.openxmlformats-officedocument.presentationml.tags+xml"/>
  <Override PartName="/ppt/notesSlides/notesSlide19.xml" ContentType="application/vnd.openxmlformats-officedocument.presentationml.notesSlide+xml"/>
  <Override PartName="/ppt/tags/tag159.xml" ContentType="application/vnd.openxmlformats-officedocument.presentationml.tags+xml"/>
  <Override PartName="/ppt/notesSlides/notesSlide20.xml" ContentType="application/vnd.openxmlformats-officedocument.presentationml.notesSlide+xml"/>
  <Override PartName="/ppt/tags/tag160.xml" ContentType="application/vnd.openxmlformats-officedocument.presentationml.tags+xml"/>
  <Override PartName="/ppt/notesSlides/notesSlide21.xml" ContentType="application/vnd.openxmlformats-officedocument.presentationml.notesSlide+xml"/>
  <Override PartName="/ppt/tags/tag161.xml" ContentType="application/vnd.openxmlformats-officedocument.presentationml.tags+xml"/>
  <Override PartName="/ppt/notesSlides/notesSlide22.xml" ContentType="application/vnd.openxmlformats-officedocument.presentationml.notesSlide+xml"/>
  <Override PartName="/ppt/tags/tag162.xml" ContentType="application/vnd.openxmlformats-officedocument.presentationml.tags+xml"/>
  <Override PartName="/ppt/notesSlides/notesSlide23.xml" ContentType="application/vnd.openxmlformats-officedocument.presentationml.notesSlide+xml"/>
  <Override PartName="/ppt/tags/tag163.xml" ContentType="application/vnd.openxmlformats-officedocument.presentationml.tags+xml"/>
  <Override PartName="/ppt/notesSlides/notesSlide24.xml" ContentType="application/vnd.openxmlformats-officedocument.presentationml.notesSlide+xml"/>
  <Override PartName="/ppt/tags/tag164.xml" ContentType="application/vnd.openxmlformats-officedocument.presentationml.tags+xml"/>
  <Override PartName="/ppt/notesSlides/notesSlide25.xml" ContentType="application/vnd.openxmlformats-officedocument.presentationml.notesSlide+xml"/>
  <Override PartName="/ppt/tags/tag165.xml" ContentType="application/vnd.openxmlformats-officedocument.presentationml.tags+xml"/>
  <Override PartName="/ppt/notesSlides/notesSlide26.xml" ContentType="application/vnd.openxmlformats-officedocument.presentationml.notesSlide+xml"/>
  <Override PartName="/ppt/tags/tag166.xml" ContentType="application/vnd.openxmlformats-officedocument.presentationml.tags+xml"/>
  <Override PartName="/ppt/notesSlides/notesSlide27.xml" ContentType="application/vnd.openxmlformats-officedocument.presentationml.notesSlide+xml"/>
  <Override PartName="/ppt/tags/tag167.xml" ContentType="application/vnd.openxmlformats-officedocument.presentationml.tags+xml"/>
  <Override PartName="/ppt/notesSlides/notesSlide28.xml" ContentType="application/vnd.openxmlformats-officedocument.presentationml.notesSlide+xml"/>
  <Override PartName="/ppt/tags/tag168.xml" ContentType="application/vnd.openxmlformats-officedocument.presentationml.tags+xml"/>
  <Override PartName="/ppt/charts/chart113.xml" ContentType="application/vnd.openxmlformats-officedocument.drawingml.chart+xml"/>
  <Override PartName="/ppt/tags/tag169.xml" ContentType="application/vnd.openxmlformats-officedocument.presentationml.tags+xml"/>
  <Override PartName="/ppt/charts/chart114.xml" ContentType="application/vnd.openxmlformats-officedocument.drawingml.chart+xml"/>
  <Override PartName="/ppt/tags/tag170.xml" ContentType="application/vnd.openxmlformats-officedocument.presentationml.tags+xml"/>
  <Override PartName="/ppt/charts/chart115.xml" ContentType="application/vnd.openxmlformats-officedocument.drawingml.chart+xml"/>
  <Override PartName="/ppt/tags/tag171.xml" ContentType="application/vnd.openxmlformats-officedocument.presentationml.tags+xml"/>
  <Override PartName="/ppt/charts/chart116.xml" ContentType="application/vnd.openxmlformats-officedocument.drawingml.chart+xml"/>
  <Override PartName="/ppt/tags/tag172.xml" ContentType="application/vnd.openxmlformats-officedocument.presentationml.tags+xml"/>
  <Override PartName="/ppt/charts/chart117.xml" ContentType="application/vnd.openxmlformats-officedocument.drawingml.chart+xml"/>
  <Override PartName="/ppt/tags/tag173.xml" ContentType="application/vnd.openxmlformats-officedocument.presentationml.tags+xml"/>
  <Override PartName="/ppt/charts/chart118.xml" ContentType="application/vnd.openxmlformats-officedocument.drawingml.chart+xml"/>
  <Override PartName="/ppt/tags/tag174.xml" ContentType="application/vnd.openxmlformats-officedocument.presentationml.tags+xml"/>
  <Override PartName="/ppt/charts/chart119.xml" ContentType="application/vnd.openxmlformats-officedocument.drawingml.chart+xml"/>
  <Override PartName="/ppt/tags/tag175.xml" ContentType="application/vnd.openxmlformats-officedocument.presentationml.tags+xml"/>
  <Override PartName="/ppt/charts/chart120.xml" ContentType="application/vnd.openxmlformats-officedocument.drawingml.chart+xml"/>
  <Override PartName="/ppt/tags/tag176.xml" ContentType="application/vnd.openxmlformats-officedocument.presentationml.tags+xml"/>
  <Override PartName="/ppt/charts/chart121.xml" ContentType="application/vnd.openxmlformats-officedocument.drawingml.chart+xml"/>
  <Override PartName="/ppt/tags/tag177.xml" ContentType="application/vnd.openxmlformats-officedocument.presentationml.tags+xml"/>
  <Override PartName="/ppt/charts/chart122.xml" ContentType="application/vnd.openxmlformats-officedocument.drawingml.chart+xml"/>
  <Override PartName="/ppt/tags/tag178.xml" ContentType="application/vnd.openxmlformats-officedocument.presentationml.tags+xml"/>
  <Override PartName="/ppt/charts/chart123.xml" ContentType="application/vnd.openxmlformats-officedocument.drawingml.chart+xml"/>
  <Override PartName="/ppt/tags/tag179.xml" ContentType="application/vnd.openxmlformats-officedocument.presentationml.tags+xml"/>
  <Override PartName="/ppt/charts/chart124.xml" ContentType="application/vnd.openxmlformats-officedocument.drawingml.chart+xml"/>
  <Override PartName="/ppt/tags/tag180.xml" ContentType="application/vnd.openxmlformats-officedocument.presentationml.tags+xml"/>
  <Override PartName="/ppt/charts/chart125.xml" ContentType="application/vnd.openxmlformats-officedocument.drawingml.chart+xml"/>
  <Override PartName="/ppt/tags/tag181.xml" ContentType="application/vnd.openxmlformats-officedocument.presentationml.tags+xml"/>
  <Override PartName="/ppt/charts/chart126.xml" ContentType="application/vnd.openxmlformats-officedocument.drawingml.chart+xml"/>
  <Override PartName="/ppt/tags/tag182.xml" ContentType="application/vnd.openxmlformats-officedocument.presentationml.tags+xml"/>
  <Override PartName="/ppt/charts/chart127.xml" ContentType="application/vnd.openxmlformats-officedocument.drawingml.chart+xml"/>
  <Override PartName="/ppt/tags/tag183.xml" ContentType="application/vnd.openxmlformats-officedocument.presentationml.tags+xml"/>
  <Override PartName="/ppt/charts/chart128.xml" ContentType="application/vnd.openxmlformats-officedocument.drawingml.chart+xml"/>
  <Override PartName="/ppt/tags/tag184.xml" ContentType="application/vnd.openxmlformats-officedocument.presentationml.tags+xml"/>
  <Override PartName="/ppt/charts/chart129.xml" ContentType="application/vnd.openxmlformats-officedocument.drawingml.chart+xml"/>
  <Override PartName="/ppt/tags/tag185.xml" ContentType="application/vnd.openxmlformats-officedocument.presentationml.tags+xml"/>
  <Override PartName="/ppt/charts/chart130.xml" ContentType="application/vnd.openxmlformats-officedocument.drawingml.chart+xml"/>
  <Override PartName="/ppt/tags/tag186.xml" ContentType="application/vnd.openxmlformats-officedocument.presentationml.tags+xml"/>
  <Override PartName="/ppt/charts/chart131.xml" ContentType="application/vnd.openxmlformats-officedocument.drawingml.chart+xml"/>
  <Override PartName="/ppt/tags/tag187.xml" ContentType="application/vnd.openxmlformats-officedocument.presentationml.tags+xml"/>
  <Override PartName="/ppt/charts/chart132.xml" ContentType="application/vnd.openxmlformats-officedocument.drawingml.chart+xml"/>
  <Override PartName="/ppt/tags/tag188.xml" ContentType="application/vnd.openxmlformats-officedocument.presentationml.tags+xml"/>
  <Override PartName="/ppt/charts/chart133.xml" ContentType="application/vnd.openxmlformats-officedocument.drawingml.chart+xml"/>
  <Override PartName="/ppt/tags/tag189.xml" ContentType="application/vnd.openxmlformats-officedocument.presentationml.tags+xml"/>
  <Override PartName="/ppt/charts/chart134.xml" ContentType="application/vnd.openxmlformats-officedocument.drawingml.chart+xml"/>
  <Override PartName="/ppt/tags/tag190.xml" ContentType="application/vnd.openxmlformats-officedocument.presentationml.tags+xml"/>
  <Override PartName="/ppt/charts/chart135.xml" ContentType="application/vnd.openxmlformats-officedocument.drawingml.chart+xml"/>
  <Override PartName="/ppt/tags/tag191.xml" ContentType="application/vnd.openxmlformats-officedocument.presentationml.tags+xml"/>
  <Override PartName="/ppt/charts/chart136.xml" ContentType="application/vnd.openxmlformats-officedocument.drawingml.chart+xml"/>
  <Override PartName="/ppt/tags/tag192.xml" ContentType="application/vnd.openxmlformats-officedocument.presentationml.tags+xml"/>
  <Override PartName="/ppt/charts/chart137.xml" ContentType="application/vnd.openxmlformats-officedocument.drawingml.chart+xml"/>
  <Override PartName="/ppt/tags/tag193.xml" ContentType="application/vnd.openxmlformats-officedocument.presentationml.tags+xml"/>
  <Override PartName="/ppt/charts/chart138.xml" ContentType="application/vnd.openxmlformats-officedocument.drawingml.chart+xml"/>
  <Override PartName="/ppt/tags/tag194.xml" ContentType="application/vnd.openxmlformats-officedocument.presentationml.tags+xml"/>
  <Override PartName="/ppt/charts/chart139.xml" ContentType="application/vnd.openxmlformats-officedocument.drawingml.chart+xml"/>
  <Override PartName="/ppt/tags/tag195.xml" ContentType="application/vnd.openxmlformats-officedocument.presentationml.tags+xml"/>
  <Override PartName="/ppt/charts/chart140.xml" ContentType="application/vnd.openxmlformats-officedocument.drawingml.chart+xml"/>
  <Override PartName="/ppt/tags/tag196.xml" ContentType="application/vnd.openxmlformats-officedocument.presentationml.tags+xml"/>
  <Override PartName="/ppt/charts/chart141.xml" ContentType="application/vnd.openxmlformats-officedocument.drawingml.chart+xml"/>
  <Override PartName="/ppt/tags/tag197.xml" ContentType="application/vnd.openxmlformats-officedocument.presentationml.tags+xml"/>
  <Override PartName="/ppt/charts/chart142.xml" ContentType="application/vnd.openxmlformats-officedocument.drawingml.chart+xml"/>
  <Override PartName="/ppt/tags/tag198.xml" ContentType="application/vnd.openxmlformats-officedocument.presentationml.tags+xml"/>
  <Override PartName="/ppt/charts/chart143.xml" ContentType="application/vnd.openxmlformats-officedocument.drawingml.chart+xml"/>
  <Override PartName="/ppt/tags/tag199.xml" ContentType="application/vnd.openxmlformats-officedocument.presentationml.tags+xml"/>
  <Override PartName="/ppt/charts/chart144.xml" ContentType="application/vnd.openxmlformats-officedocument.drawingml.chart+xml"/>
  <Override PartName="/ppt/tags/tag200.xml" ContentType="application/vnd.openxmlformats-officedocument.presentationml.tags+xml"/>
  <Override PartName="/ppt/charts/chart145.xml" ContentType="application/vnd.openxmlformats-officedocument.drawingml.chart+xml"/>
  <Override PartName="/ppt/tags/tag201.xml" ContentType="application/vnd.openxmlformats-officedocument.presentationml.tags+xml"/>
  <Override PartName="/ppt/charts/chart146.xml" ContentType="application/vnd.openxmlformats-officedocument.drawingml.chart+xml"/>
  <Override PartName="/ppt/tags/tag202.xml" ContentType="application/vnd.openxmlformats-officedocument.presentationml.tags+xml"/>
  <Override PartName="/ppt/charts/chart147.xml" ContentType="application/vnd.openxmlformats-officedocument.drawingml.chart+xml"/>
  <Override PartName="/ppt/tags/tag203.xml" ContentType="application/vnd.openxmlformats-officedocument.presentationml.tags+xml"/>
  <Override PartName="/ppt/charts/chart148.xml" ContentType="application/vnd.openxmlformats-officedocument.drawingml.chart+xml"/>
  <Override PartName="/ppt/tags/tag204.xml" ContentType="application/vnd.openxmlformats-officedocument.presentationml.tags+xml"/>
  <Override PartName="/ppt/charts/chart149.xml" ContentType="application/vnd.openxmlformats-officedocument.drawingml.chart+xml"/>
  <Override PartName="/ppt/tags/tag205.xml" ContentType="application/vnd.openxmlformats-officedocument.presentationml.tags+xml"/>
  <Override PartName="/ppt/charts/chart150.xml" ContentType="application/vnd.openxmlformats-officedocument.drawingml.chart+xml"/>
  <Override PartName="/ppt/tags/tag206.xml" ContentType="application/vnd.openxmlformats-officedocument.presentationml.tags+xml"/>
  <Override PartName="/ppt/charts/chart151.xml" ContentType="application/vnd.openxmlformats-officedocument.drawingml.chart+xml"/>
  <Override PartName="/ppt/tags/tag207.xml" ContentType="application/vnd.openxmlformats-officedocument.presentationml.tags+xml"/>
  <Override PartName="/ppt/charts/chart152.xml" ContentType="application/vnd.openxmlformats-officedocument.drawingml.chart+xml"/>
  <Override PartName="/ppt/tags/tag208.xml" ContentType="application/vnd.openxmlformats-officedocument.presentationml.tags+xml"/>
  <Override PartName="/ppt/charts/chart153.xml" ContentType="application/vnd.openxmlformats-officedocument.drawingml.chart+xml"/>
  <Override PartName="/ppt/tags/tag209.xml" ContentType="application/vnd.openxmlformats-officedocument.presentationml.tags+xml"/>
  <Override PartName="/ppt/charts/chart154.xml" ContentType="application/vnd.openxmlformats-officedocument.drawingml.chart+xml"/>
  <Override PartName="/ppt/tags/tag210.xml" ContentType="application/vnd.openxmlformats-officedocument.presentationml.tags+xml"/>
  <Override PartName="/ppt/charts/chart155.xml" ContentType="application/vnd.openxmlformats-officedocument.drawingml.chart+xml"/>
  <Override PartName="/ppt/tags/tag211.xml" ContentType="application/vnd.openxmlformats-officedocument.presentationml.tags+xml"/>
  <Override PartName="/ppt/charts/chart156.xml" ContentType="application/vnd.openxmlformats-officedocument.drawingml.chart+xml"/>
  <Override PartName="/ppt/tags/tag212.xml" ContentType="application/vnd.openxmlformats-officedocument.presentationml.tags+xml"/>
  <Override PartName="/ppt/charts/chart157.xml" ContentType="application/vnd.openxmlformats-officedocument.drawingml.chart+xml"/>
  <Override PartName="/ppt/tags/tag213.xml" ContentType="application/vnd.openxmlformats-officedocument.presentationml.tags+xml"/>
  <Override PartName="/ppt/charts/chart158.xml" ContentType="application/vnd.openxmlformats-officedocument.drawingml.chart+xml"/>
  <Override PartName="/ppt/tags/tag214.xml" ContentType="application/vnd.openxmlformats-officedocument.presentationml.tags+xml"/>
  <Override PartName="/ppt/charts/chart159.xml" ContentType="application/vnd.openxmlformats-officedocument.drawingml.chart+xml"/>
  <Override PartName="/ppt/tags/tag215.xml" ContentType="application/vnd.openxmlformats-officedocument.presentationml.tags+xml"/>
  <Override PartName="/ppt/charts/chart160.xml" ContentType="application/vnd.openxmlformats-officedocument.drawingml.chart+xml"/>
  <Override PartName="/ppt/tags/tag216.xml" ContentType="application/vnd.openxmlformats-officedocument.presentationml.tags+xml"/>
  <Override PartName="/ppt/charts/chart161.xml" ContentType="application/vnd.openxmlformats-officedocument.drawingml.chart+xml"/>
  <Override PartName="/ppt/tags/tag217.xml" ContentType="application/vnd.openxmlformats-officedocument.presentationml.tags+xml"/>
  <Override PartName="/ppt/charts/chart162.xml" ContentType="application/vnd.openxmlformats-officedocument.drawingml.chart+xml"/>
  <Override PartName="/ppt/tags/tag218.xml" ContentType="application/vnd.openxmlformats-officedocument.presentationml.tags+xml"/>
  <Override PartName="/ppt/charts/chart163.xml" ContentType="application/vnd.openxmlformats-officedocument.drawingml.chart+xml"/>
  <Override PartName="/ppt/tags/tag219.xml" ContentType="application/vnd.openxmlformats-officedocument.presentationml.tags+xml"/>
  <Override PartName="/ppt/charts/chart164.xml" ContentType="application/vnd.openxmlformats-officedocument.drawingml.chart+xml"/>
  <Override PartName="/ppt/tags/tag220.xml" ContentType="application/vnd.openxmlformats-officedocument.presentationml.tags+xml"/>
  <Override PartName="/ppt/charts/chart165.xml" ContentType="application/vnd.openxmlformats-officedocument.drawingml.chart+xml"/>
  <Override PartName="/ppt/tags/tag221.xml" ContentType="application/vnd.openxmlformats-officedocument.presentationml.tags+xml"/>
  <Override PartName="/ppt/charts/chart166.xml" ContentType="application/vnd.openxmlformats-officedocument.drawingml.chart+xml"/>
  <Override PartName="/ppt/tags/tag222.xml" ContentType="application/vnd.openxmlformats-officedocument.presentationml.tags+xml"/>
  <Override PartName="/ppt/charts/chart167.xml" ContentType="application/vnd.openxmlformats-officedocument.drawingml.chart+xml"/>
  <Override PartName="/ppt/tags/tag223.xml" ContentType="application/vnd.openxmlformats-officedocument.presentationml.tags+xml"/>
  <Override PartName="/ppt/charts/chart168.xml" ContentType="application/vnd.openxmlformats-officedocument.drawingml.chart+xml"/>
  <Override PartName="/ppt/tags/tag224.xml" ContentType="application/vnd.openxmlformats-officedocument.presentationml.tags+xml"/>
  <Override PartName="/ppt/charts/chart169.xml" ContentType="application/vnd.openxmlformats-officedocument.drawingml.chart+xml"/>
  <Override PartName="/ppt/tags/tag225.xml" ContentType="application/vnd.openxmlformats-officedocument.presentationml.tags+xml"/>
  <Override PartName="/ppt/charts/chart170.xml" ContentType="application/vnd.openxmlformats-officedocument.drawingml.chart+xml"/>
  <Override PartName="/ppt/tags/tag226.xml" ContentType="application/vnd.openxmlformats-officedocument.presentationml.tags+xml"/>
  <Override PartName="/ppt/charts/chart171.xml" ContentType="application/vnd.openxmlformats-officedocument.drawingml.chart+xml"/>
  <Override PartName="/ppt/tags/tag227.xml" ContentType="application/vnd.openxmlformats-officedocument.presentationml.tags+xml"/>
  <Override PartName="/ppt/charts/chart172.xml" ContentType="application/vnd.openxmlformats-officedocument.drawingml.chart+xml"/>
  <Override PartName="/ppt/tags/tag228.xml" ContentType="application/vnd.openxmlformats-officedocument.presentationml.tags+xml"/>
  <Override PartName="/ppt/charts/chart173.xml" ContentType="application/vnd.openxmlformats-officedocument.drawingml.chart+xml"/>
  <Override PartName="/ppt/tags/tag229.xml" ContentType="application/vnd.openxmlformats-officedocument.presentationml.tags+xml"/>
  <Override PartName="/ppt/charts/chart174.xml" ContentType="application/vnd.openxmlformats-officedocument.drawingml.chart+xml"/>
  <Override PartName="/ppt/tags/tag230.xml" ContentType="application/vnd.openxmlformats-officedocument.presentationml.tags+xml"/>
  <Override PartName="/ppt/charts/chart175.xml" ContentType="application/vnd.openxmlformats-officedocument.drawingml.chart+xml"/>
  <Override PartName="/ppt/tags/tag231.xml" ContentType="application/vnd.openxmlformats-officedocument.presentationml.tags+xml"/>
  <Override PartName="/ppt/charts/chart176.xml" ContentType="application/vnd.openxmlformats-officedocument.drawingml.chart+xml"/>
  <Override PartName="/ppt/tags/tag232.xml" ContentType="application/vnd.openxmlformats-officedocument.presentationml.tags+xml"/>
  <Override PartName="/ppt/charts/chart177.xml" ContentType="application/vnd.openxmlformats-officedocument.drawingml.chart+xml"/>
  <Override PartName="/ppt/tags/tag233.xml" ContentType="application/vnd.openxmlformats-officedocument.presentationml.tags+xml"/>
  <Override PartName="/ppt/charts/chart178.xml" ContentType="application/vnd.openxmlformats-officedocument.drawingml.chart+xml"/>
  <Override PartName="/ppt/tags/tag234.xml" ContentType="application/vnd.openxmlformats-officedocument.presentationml.tags+xml"/>
  <Override PartName="/ppt/charts/chart179.xml" ContentType="application/vnd.openxmlformats-officedocument.drawingml.chart+xml"/>
  <Override PartName="/ppt/tags/tag235.xml" ContentType="application/vnd.openxmlformats-officedocument.presentationml.tags+xml"/>
  <Override PartName="/ppt/charts/chart180.xml" ContentType="application/vnd.openxmlformats-officedocument.drawingml.chart+xml"/>
  <Override PartName="/ppt/tags/tag236.xml" ContentType="application/vnd.openxmlformats-officedocument.presentationml.tags+xml"/>
  <Override PartName="/ppt/charts/chart181.xml" ContentType="application/vnd.openxmlformats-officedocument.drawingml.chart+xml"/>
  <Override PartName="/ppt/tags/tag237.xml" ContentType="application/vnd.openxmlformats-officedocument.presentationml.tags+xml"/>
  <Override PartName="/ppt/charts/chart182.xml" ContentType="application/vnd.openxmlformats-officedocument.drawingml.chart+xml"/>
  <Override PartName="/ppt/tags/tag238.xml" ContentType="application/vnd.openxmlformats-officedocument.presentationml.tags+xml"/>
  <Override PartName="/ppt/charts/chart183.xml" ContentType="application/vnd.openxmlformats-officedocument.drawingml.chart+xml"/>
  <Override PartName="/ppt/tags/tag239.xml" ContentType="application/vnd.openxmlformats-officedocument.presentationml.tags+xml"/>
  <Override PartName="/ppt/charts/chart184.xml" ContentType="application/vnd.openxmlformats-officedocument.drawingml.chart+xml"/>
  <Override PartName="/ppt/tags/tag240.xml" ContentType="application/vnd.openxmlformats-officedocument.presentationml.tags+xml"/>
  <Override PartName="/ppt/charts/chart185.xml" ContentType="application/vnd.openxmlformats-officedocument.drawingml.chart+xml"/>
  <Override PartName="/ppt/tags/tag241.xml" ContentType="application/vnd.openxmlformats-officedocument.presentationml.tags+xml"/>
  <Override PartName="/ppt/charts/chart186.xml" ContentType="application/vnd.openxmlformats-officedocument.drawingml.chart+xml"/>
  <Override PartName="/ppt/tags/tag242.xml" ContentType="application/vnd.openxmlformats-officedocument.presentationml.tags+xml"/>
  <Override PartName="/ppt/charts/chart187.xml" ContentType="application/vnd.openxmlformats-officedocument.drawingml.chart+xml"/>
  <Override PartName="/ppt/tags/tag243.xml" ContentType="application/vnd.openxmlformats-officedocument.presentationml.tags+xml"/>
  <Override PartName="/ppt/charts/chart188.xml" ContentType="application/vnd.openxmlformats-officedocument.drawingml.chart+xml"/>
  <Override PartName="/ppt/tags/tag244.xml" ContentType="application/vnd.openxmlformats-officedocument.presentationml.tags+xml"/>
  <Override PartName="/ppt/charts/chart189.xml" ContentType="application/vnd.openxmlformats-officedocument.drawingml.chart+xml"/>
  <Override PartName="/ppt/tags/tag245.xml" ContentType="application/vnd.openxmlformats-officedocument.presentationml.tags+xml"/>
  <Override PartName="/ppt/charts/chart190.xml" ContentType="application/vnd.openxmlformats-officedocument.drawingml.chart+xml"/>
  <Override PartName="/ppt/tags/tag246.xml" ContentType="application/vnd.openxmlformats-officedocument.presentationml.tags+xml"/>
  <Override PartName="/ppt/charts/chart191.xml" ContentType="application/vnd.openxmlformats-officedocument.drawingml.chart+xml"/>
  <Override PartName="/ppt/tags/tag247.xml" ContentType="application/vnd.openxmlformats-officedocument.presentationml.tags+xml"/>
  <Override PartName="/ppt/charts/chart192.xml" ContentType="application/vnd.openxmlformats-officedocument.drawingml.chart+xml"/>
  <Override PartName="/ppt/tags/tag248.xml" ContentType="application/vnd.openxmlformats-officedocument.presentationml.tags+xml"/>
  <Override PartName="/ppt/charts/chart193.xml" ContentType="application/vnd.openxmlformats-officedocument.drawingml.chart+xml"/>
  <Override PartName="/ppt/tags/tag249.xml" ContentType="application/vnd.openxmlformats-officedocument.presentationml.tags+xml"/>
  <Override PartName="/ppt/charts/chart194.xml" ContentType="application/vnd.openxmlformats-officedocument.drawingml.chart+xml"/>
  <Override PartName="/ppt/tags/tag250.xml" ContentType="application/vnd.openxmlformats-officedocument.presentationml.tags+xml"/>
  <Override PartName="/ppt/charts/chart195.xml" ContentType="application/vnd.openxmlformats-officedocument.drawingml.chart+xml"/>
  <Override PartName="/ppt/tags/tag251.xml" ContentType="application/vnd.openxmlformats-officedocument.presentationml.tags+xml"/>
  <Override PartName="/ppt/charts/chart196.xml" ContentType="application/vnd.openxmlformats-officedocument.drawingml.chart+xml"/>
  <Override PartName="/ppt/tags/tag252.xml" ContentType="application/vnd.openxmlformats-officedocument.presentationml.tags+xml"/>
  <Override PartName="/ppt/charts/chart197.xml" ContentType="application/vnd.openxmlformats-officedocument.drawingml.chart+xml"/>
  <Override PartName="/ppt/tags/tag253.xml" ContentType="application/vnd.openxmlformats-officedocument.presentationml.tags+xml"/>
  <Override PartName="/ppt/charts/chart198.xml" ContentType="application/vnd.openxmlformats-officedocument.drawingml.chart+xml"/>
  <Override PartName="/ppt/tags/tag254.xml" ContentType="application/vnd.openxmlformats-officedocument.presentationml.tags+xml"/>
  <Override PartName="/ppt/charts/chart199.xml" ContentType="application/vnd.openxmlformats-officedocument.drawingml.chart+xml"/>
  <Override PartName="/ppt/tags/tag255.xml" ContentType="application/vnd.openxmlformats-officedocument.presentationml.tags+xml"/>
  <Override PartName="/ppt/charts/chart200.xml" ContentType="application/vnd.openxmlformats-officedocument.drawingml.chart+xml"/>
  <Override PartName="/ppt/tags/tag256.xml" ContentType="application/vnd.openxmlformats-officedocument.presentationml.tags+xml"/>
  <Override PartName="/ppt/charts/chart201.xml" ContentType="application/vnd.openxmlformats-officedocument.drawingml.chart+xml"/>
  <Override PartName="/ppt/tags/tag257.xml" ContentType="application/vnd.openxmlformats-officedocument.presentationml.tags+xml"/>
  <Override PartName="/ppt/charts/chart202.xml" ContentType="application/vnd.openxmlformats-officedocument.drawingml.chart+xml"/>
  <Override PartName="/ppt/tags/tag258.xml" ContentType="application/vnd.openxmlformats-officedocument.presentationml.tags+xml"/>
  <Override PartName="/ppt/charts/chart203.xml" ContentType="application/vnd.openxmlformats-officedocument.drawingml.chart+xml"/>
  <Override PartName="/ppt/tags/tag259.xml" ContentType="application/vnd.openxmlformats-officedocument.presentationml.tags+xml"/>
  <Override PartName="/ppt/charts/chart204.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3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DF439B48-D54C-41FB-A9AF-56B4B7252194}">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Lst>
        </p14:section>
        <p14:section name="Sectors Share and Growth By Brands" id="{7AF1D0C5-9CED-4304-8805-9FD8D9CB145D}">
          <p14:sldIdLst>
            <p14:sldId id="2147477477"/>
            <p14:sldId id="2147477478"/>
            <p14:sldId id="2147477479"/>
            <p14:sldId id="2147477480"/>
            <p14:sldId id="2147477481"/>
            <p14:sldId id="2147477482"/>
            <p14:sldId id="2147477483"/>
          </p14:sldIdLst>
        </p14:section>
        <p14:section name="Segments Share and Growth By Brands" id="{FADAF8C7-9EDE-4035-9BD0-CC320C2036E4}">
          <p14:sldIdLst>
            <p14:sldId id="2147477484"/>
            <p14:sldId id="2147477485"/>
            <p14:sldId id="2147477486"/>
            <p14:sldId id="2147477487"/>
            <p14:sldId id="2147477488"/>
            <p14:sldId id="2147477489"/>
            <p14:sldId id="2147477490"/>
          </p14:sldIdLst>
        </p14:section>
        <p14:section name="SubSegments Share and Growth By Brands" id="{9362DA86-4FC7-4D6C-8320-F4A4C1C9B126}">
          <p14:sldIdLst>
            <p14:sldId id="2147477491"/>
            <p14:sldId id="2147477492"/>
            <p14:sldId id="2147477493"/>
            <p14:sldId id="2147477494"/>
            <p14:sldId id="2147477495"/>
            <p14:sldId id="2147477496"/>
            <p14:sldId id="2147477497"/>
          </p14:sldIdLst>
        </p14:section>
        <p14:section name="SubCategory Share and Growth By Brands" id="{EE8C4F94-FC20-4576-A598-E17330FE0EB5}">
          <p14:sldIdLst>
            <p14:sldId id="2147477498"/>
            <p14:sldId id="2147477499"/>
            <p14:sldId id="2147477500"/>
            <p14:sldId id="2147477501"/>
            <p14:sldId id="2147477502"/>
            <p14:sldId id="2147477503"/>
            <p14:sldId id="2147477504"/>
          </p14:sldIdLst>
        </p14:section>
        <p14:section name="Price Point Distribution Analysis By Brand" id="{09F6339C-BB4D-4E7C-A7B0-3178329E973E}">
          <p14:sldIdLst>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slide" Target="slides/slide22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37" Type="http://schemas.openxmlformats.org/officeDocument/2006/relationships/notesMaster" Target="notesMasters/notesMaster1.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presProps" Target="presProps.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viewProps" Target="viewProps.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theme" Target="theme/theme1.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tableStyles" Target="tableStyle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36" Type="http://schemas.openxmlformats.org/officeDocument/2006/relationships/slide" Target="slides/slide232.xml"/><Relationship Id="rId26" Type="http://schemas.openxmlformats.org/officeDocument/2006/relationships/slide" Target="slides/slide22.xml"/><Relationship Id="rId231" Type="http://schemas.openxmlformats.org/officeDocument/2006/relationships/slide" Target="slides/slide227.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microsoft.com/office/2015/10/relationships/revisionInfo" Target="revisionInfo.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91DE6E-EDB0-4E05-8B3E-55FC776CD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E53CF4-A783-48FA-823B-E67F89A5C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CD3D7C-DEFA-420B-894F-ED772FC5A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88605C-6070-46FC-8442-C9E099F23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77C783-9C4C-4628-9666-C379D8FBB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C2DC9B5-0938-470C-8E14-86CD8A0A4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C32315-2AB4-4A61-8D7D-CD0A68703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2101112-B93F-4D33-AA91-C24ADA35F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1.13380000000001</c:v>
                </c:pt>
                <c:pt idx="1">
                  <c:v>209.15610000000001</c:v>
                </c:pt>
                <c:pt idx="2">
                  <c:v>222.7422</c:v>
                </c:pt>
                <c:pt idx="3">
                  <c:v>577.1653</c:v>
                </c:pt>
                <c:pt idx="4">
                  <c:v>289.72449999999998</c:v>
                </c:pt>
                <c:pt idx="5">
                  <c:v>84.481200000000001</c:v>
                </c:pt>
                <c:pt idx="6">
                  <c:v>506.83350000000002</c:v>
                </c:pt>
              </c:numCache>
            </c:numRef>
          </c:xVal>
          <c:yVal>
            <c:numRef>
              <c:f>Sheet1!$B$2:$B$8</c:f>
              <c:numCache>
                <c:formatCode>General</c:formatCode>
                <c:ptCount val="7"/>
                <c:pt idx="0">
                  <c:v>1.038</c:v>
                </c:pt>
                <c:pt idx="1">
                  <c:v>0.746</c:v>
                </c:pt>
                <c:pt idx="2">
                  <c:v>0.72599999999999998</c:v>
                </c:pt>
                <c:pt idx="3">
                  <c:v>4.18</c:v>
                </c:pt>
                <c:pt idx="4">
                  <c:v>2.0569999999999999</c:v>
                </c:pt>
                <c:pt idx="5">
                  <c:v>0.41599999999999998</c:v>
                </c:pt>
                <c:pt idx="6">
                  <c:v>6.3529999999999998</c:v>
                </c:pt>
              </c:numCache>
            </c:numRef>
          </c:yVal>
          <c:bubbleSize>
            <c:numRef>
              <c:f>Sheet1!$C$2:$C$8</c:f>
              <c:numCache>
                <c:formatCode>General</c:formatCode>
                <c:ptCount val="7"/>
                <c:pt idx="0">
                  <c:v>536202668</c:v>
                </c:pt>
                <c:pt idx="1">
                  <c:v>269083052</c:v>
                </c:pt>
                <c:pt idx="2">
                  <c:v>215531333</c:v>
                </c:pt>
                <c:pt idx="3">
                  <c:v>108131910</c:v>
                </c:pt>
                <c:pt idx="4">
                  <c:v>102115148</c:v>
                </c:pt>
                <c:pt idx="5">
                  <c:v>62392994</c:v>
                </c:pt>
                <c:pt idx="6">
                  <c:v>50910918</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1EB229-E6D5-4BFC-A7CE-CAA224FAB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E34BD5-63B8-4F41-BE91-893ABB298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9C0C33-9054-40E1-9A4F-16C761BE1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63CBDA-03D3-4DF4-905B-A100A3B0B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12EBCC-8925-4AF1-AAF0-458B3279B4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040A703-2399-4C02-97C0-3A0A47896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F40FE92-35D1-4421-847E-FE59A83EC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3374319-8B78-464A-B950-6DAEFFE9F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5.20179999999999</c:v>
                </c:pt>
                <c:pt idx="1">
                  <c:v>245.2593</c:v>
                </c:pt>
                <c:pt idx="2">
                  <c:v>220.0378</c:v>
                </c:pt>
                <c:pt idx="3">
                  <c:v>252.96879999999999</c:v>
                </c:pt>
                <c:pt idx="4">
                  <c:v>133.73689999999999</c:v>
                </c:pt>
              </c:numCache>
            </c:numRef>
          </c:xVal>
          <c:yVal>
            <c:numRef>
              <c:f>Sheet1!$B$2:$B$6</c:f>
              <c:numCache>
                <c:formatCode>General</c:formatCode>
                <c:ptCount val="5"/>
                <c:pt idx="0">
                  <c:v>1.006</c:v>
                </c:pt>
                <c:pt idx="1">
                  <c:v>1.1060000000000001</c:v>
                </c:pt>
                <c:pt idx="2">
                  <c:v>0.83499999999999996</c:v>
                </c:pt>
                <c:pt idx="3">
                  <c:v>1.095</c:v>
                </c:pt>
                <c:pt idx="4">
                  <c:v>0.83899999999999997</c:v>
                </c:pt>
              </c:numCache>
            </c:numRef>
          </c:yVal>
          <c:bubbleSize>
            <c:numRef>
              <c:f>Sheet1!$C$2:$C$6</c:f>
              <c:numCache>
                <c:formatCode>General</c:formatCode>
                <c:ptCount val="5"/>
                <c:pt idx="0">
                  <c:v>13323472</c:v>
                </c:pt>
                <c:pt idx="1">
                  <c:v>8223055</c:v>
                </c:pt>
                <c:pt idx="2">
                  <c:v>2810543</c:v>
                </c:pt>
                <c:pt idx="3">
                  <c:v>1516295</c:v>
                </c:pt>
                <c:pt idx="4">
                  <c:v>562096</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Australian Gold</c:v>
                  </c:pt>
                  <c:pt idx="4">
                    <c:v>Cerap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
          <c:min val="10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A24611-20C1-4020-932E-236BC5804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629772-AF2E-4CE0-BBD2-4394744E5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35FC84-C951-4464-BC1A-C3CB95A15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354D9A-A544-4DED-AA0C-278352FE1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A3A4CAF-3729-4B27-B67C-EABF3B1A1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E4E51C-4F8A-432B-8BC1-CA0A8D4F39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92D5C72-A33E-4817-8254-8CC14CAF2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7AC78BB-FE78-4D6D-90F8-EF0066ACCE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68689999999998</c:v>
                </c:pt>
                <c:pt idx="1">
                  <c:v>601.07420000000002</c:v>
                </c:pt>
                <c:pt idx="2">
                  <c:v>551.88130000000001</c:v>
                </c:pt>
                <c:pt idx="3">
                  <c:v>168.59960000000001</c:v>
                </c:pt>
                <c:pt idx="4">
                  <c:v>134.07570000000001</c:v>
                </c:pt>
                <c:pt idx="5">
                  <c:v>561.17010000000005</c:v>
                </c:pt>
                <c:pt idx="6">
                  <c:v>636.54790000000003</c:v>
                </c:pt>
              </c:numCache>
            </c:numRef>
          </c:xVal>
          <c:yVal>
            <c:numRef>
              <c:f>Sheet1!$B$2:$B$8</c:f>
              <c:numCache>
                <c:formatCode>General</c:formatCode>
                <c:ptCount val="7"/>
                <c:pt idx="0">
                  <c:v>0.99</c:v>
                </c:pt>
                <c:pt idx="1">
                  <c:v>1.7450000000000001</c:v>
                </c:pt>
                <c:pt idx="2">
                  <c:v>8.173</c:v>
                </c:pt>
                <c:pt idx="3">
                  <c:v>0.501</c:v>
                </c:pt>
                <c:pt idx="4">
                  <c:v>0.307</c:v>
                </c:pt>
                <c:pt idx="5">
                  <c:v>8.3309999999999995</c:v>
                </c:pt>
                <c:pt idx="6">
                  <c:v>0</c:v>
                </c:pt>
              </c:numCache>
            </c:numRef>
          </c:yVal>
          <c:bubbleSize>
            <c:numRef>
              <c:f>Sheet1!$C$2:$C$8</c:f>
              <c:numCache>
                <c:formatCode>General</c:formatCode>
                <c:ptCount val="7"/>
                <c:pt idx="0">
                  <c:v>16062904</c:v>
                </c:pt>
                <c:pt idx="1">
                  <c:v>3238588</c:v>
                </c:pt>
                <c:pt idx="2">
                  <c:v>1854873</c:v>
                </c:pt>
                <c:pt idx="3">
                  <c:v>1242916</c:v>
                </c:pt>
                <c:pt idx="4">
                  <c:v>1106527</c:v>
                </c:pt>
                <c:pt idx="5">
                  <c:v>798545</c:v>
                </c:pt>
                <c:pt idx="6">
                  <c:v>27880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Hawaiian Tropic</c:v>
                  </c:pt>
                  <c:pt idx="4">
                    <c:v>Banana Boat</c:v>
                  </c:pt>
                  <c:pt idx="5">
                    <c:v>La Roche-Posay</c:v>
                  </c:pt>
                  <c:pt idx="6">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4"/>
          <c:min val="10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24EFC6-FBA8-49F5-88BE-52F7F69CB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C002F2-B41D-4BF3-B91F-4422E528D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9FECC5-9CF3-4372-8EE6-008D51B448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E5246C1-0CDB-446F-8D73-4334C0103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C05994-06C4-4D80-AE2D-0A2CCBEAD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AC19C6-9157-4F0B-9470-3A224FFFB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630967-9C22-4340-9E6C-C4E723199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649F41C-9BB5-407E-B429-68A9F88E2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71.56500000000005</c:v>
                </c:pt>
                <c:pt idx="1">
                  <c:v>596.10739999999998</c:v>
                </c:pt>
                <c:pt idx="2">
                  <c:v>245.0052</c:v>
                </c:pt>
                <c:pt idx="3">
                  <c:v>538.80119999999999</c:v>
                </c:pt>
                <c:pt idx="4">
                  <c:v>535.92679999999996</c:v>
                </c:pt>
                <c:pt idx="5">
                  <c:v>453.06009999999998</c:v>
                </c:pt>
              </c:numCache>
            </c:numRef>
          </c:xVal>
          <c:yVal>
            <c:numRef>
              <c:f>Sheet1!$B$2:$B$7</c:f>
              <c:numCache>
                <c:formatCode>General</c:formatCode>
                <c:ptCount val="6"/>
                <c:pt idx="0">
                  <c:v>1.087</c:v>
                </c:pt>
                <c:pt idx="1">
                  <c:v>1.258</c:v>
                </c:pt>
                <c:pt idx="2">
                  <c:v>0.54</c:v>
                </c:pt>
                <c:pt idx="3">
                  <c:v>0.95599999999999996</c:v>
                </c:pt>
                <c:pt idx="4">
                  <c:v>11.086</c:v>
                </c:pt>
                <c:pt idx="5">
                  <c:v>2.2709999999999999</c:v>
                </c:pt>
              </c:numCache>
            </c:numRef>
          </c:yVal>
          <c:bubbleSize>
            <c:numRef>
              <c:f>Sheet1!$C$2:$C$7</c:f>
              <c:numCache>
                <c:formatCode>General</c:formatCode>
                <c:ptCount val="6"/>
                <c:pt idx="0">
                  <c:v>2593762</c:v>
                </c:pt>
                <c:pt idx="1">
                  <c:v>2529880</c:v>
                </c:pt>
                <c:pt idx="2">
                  <c:v>1803483</c:v>
                </c:pt>
                <c:pt idx="3">
                  <c:v>842685</c:v>
                </c:pt>
                <c:pt idx="4">
                  <c:v>651687</c:v>
                </c:pt>
                <c:pt idx="5">
                  <c:v>347044</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Nivea</c:v>
                  </c:pt>
                  <c:pt idx="3">
                    <c:v>Eucerin</c:v>
                  </c:pt>
                  <c:pt idx="4">
                    <c:v>Avene</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5"/>
          <c:min val="19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662FA0-D773-42F5-A67A-5875BFBF9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9EFA4A-656E-44A1-86A5-E86049048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1728B6-57D6-43FC-AC47-EAFF0DE5E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D476A9-895E-4899-85E4-D4D523A2B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E0CAD4-4BFD-48FE-A65F-60A6C1167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D3BBA07-5208-49E8-B7DB-D7D8F773C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A3EEAF5-6CC3-4681-B9DD-DF446A037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E62F804-99F6-4C36-AF77-ABF79F127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5.30700000000002</c:v>
                </c:pt>
                <c:pt idx="1">
                  <c:v>265.50569999999999</c:v>
                </c:pt>
                <c:pt idx="2">
                  <c:v>267.69959999999998</c:v>
                </c:pt>
                <c:pt idx="3">
                  <c:v>577.60799999999995</c:v>
                </c:pt>
                <c:pt idx="4">
                  <c:v>718.45920000000001</c:v>
                </c:pt>
              </c:numCache>
            </c:numRef>
          </c:xVal>
          <c:yVal>
            <c:numRef>
              <c:f>Sheet1!$B$2:$B$6</c:f>
              <c:numCache>
                <c:formatCode>General</c:formatCode>
                <c:ptCount val="5"/>
                <c:pt idx="0">
                  <c:v>1.002</c:v>
                </c:pt>
                <c:pt idx="1">
                  <c:v>1.012</c:v>
                </c:pt>
                <c:pt idx="2">
                  <c:v>0.85499999999999998</c:v>
                </c:pt>
                <c:pt idx="3">
                  <c:v>4.3680000000000003</c:v>
                </c:pt>
                <c:pt idx="4">
                  <c:v>2.7850000000000001</c:v>
                </c:pt>
              </c:numCache>
            </c:numRef>
          </c:yVal>
          <c:bubbleSize>
            <c:numRef>
              <c:f>Sheet1!$C$2:$C$6</c:f>
              <c:numCache>
                <c:formatCode>General</c:formatCode>
                <c:ptCount val="5"/>
                <c:pt idx="0">
                  <c:v>6722997</c:v>
                </c:pt>
                <c:pt idx="1">
                  <c:v>4464213</c:v>
                </c:pt>
                <c:pt idx="2">
                  <c:v>4400179</c:v>
                </c:pt>
                <c:pt idx="3">
                  <c:v>620351</c:v>
                </c:pt>
                <c:pt idx="4">
                  <c:v>211227</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2"/>
          <c:min val="2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136B5E-B46A-4F15-BF4F-6CF9FA278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0D0433-48D7-4585-93EA-FDCE250669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1B4C09-40D2-4548-BB55-A0511870C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FC439D-1B5C-4415-A026-F1CC7B83C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D1E5C2-7F5E-42C3-A093-36E1C4919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030787-819E-48D1-9E36-8DCB673DD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EC2F28D-FBD7-4CD4-B295-1D07E4B18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93BE13C-FFC4-4C9A-88F8-FD2F7B9E9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0.1884</c:v>
                </c:pt>
                <c:pt idx="1">
                  <c:v>296.70359999999999</c:v>
                </c:pt>
                <c:pt idx="2">
                  <c:v>243.22069999999999</c:v>
                </c:pt>
                <c:pt idx="3">
                  <c:v>246.98949999999999</c:v>
                </c:pt>
                <c:pt idx="4">
                  <c:v>85.877600000000001</c:v>
                </c:pt>
                <c:pt idx="5">
                  <c:v>592.28729999999996</c:v>
                </c:pt>
                <c:pt idx="6">
                  <c:v>74.820400000000006</c:v>
                </c:pt>
              </c:numCache>
            </c:numRef>
          </c:xVal>
          <c:yVal>
            <c:numRef>
              <c:f>Sheet1!$B$2:$B$8</c:f>
              <c:numCache>
                <c:formatCode>General</c:formatCode>
                <c:ptCount val="7"/>
                <c:pt idx="0">
                  <c:v>1.42</c:v>
                </c:pt>
                <c:pt idx="1">
                  <c:v>2.2170000000000001</c:v>
                </c:pt>
                <c:pt idx="2">
                  <c:v>0.76900000000000002</c:v>
                </c:pt>
                <c:pt idx="3">
                  <c:v>0.70499999999999996</c:v>
                </c:pt>
                <c:pt idx="4">
                  <c:v>0.42799999999999999</c:v>
                </c:pt>
                <c:pt idx="5">
                  <c:v>8.6219999999999999</c:v>
                </c:pt>
                <c:pt idx="6">
                  <c:v>0.40699999999999997</c:v>
                </c:pt>
              </c:numCache>
            </c:numRef>
          </c:yVal>
          <c:bubbleSize>
            <c:numRef>
              <c:f>Sheet1!$C$2:$C$8</c:f>
              <c:numCache>
                <c:formatCode>General</c:formatCode>
                <c:ptCount val="7"/>
                <c:pt idx="0">
                  <c:v>29673359</c:v>
                </c:pt>
                <c:pt idx="1">
                  <c:v>15085897</c:v>
                </c:pt>
                <c:pt idx="2">
                  <c:v>13521853</c:v>
                </c:pt>
                <c:pt idx="3">
                  <c:v>13036602</c:v>
                </c:pt>
                <c:pt idx="4">
                  <c:v>11365128</c:v>
                </c:pt>
                <c:pt idx="5">
                  <c:v>7846030</c:v>
                </c:pt>
                <c:pt idx="6">
                  <c:v>4294539</c:v>
                </c:pt>
              </c:numCache>
            </c:numRef>
          </c:bubbleSize>
          <c:bubble3D val="0"/>
          <c:extLst>
            <c:ext xmlns:c15="http://schemas.microsoft.com/office/drawing/2012/chart" uri="{02D57815-91ED-43cb-92C2-25804820EDAC}">
              <c15:datalabelsRange>
                <c15:f>Sheet1!$E$2:$E$10</c15:f>
                <c15:dlblRangeCache>
                  <c:ptCount val="9"/>
                  <c:pt idx="0">
                    <c:v>Nivea</c:v>
                  </c:pt>
                  <c:pt idx="1">
                    <c:v>Neutrogena</c:v>
                  </c:pt>
                  <c:pt idx="2">
                    <c:v>Hawaiian Tropic</c:v>
                  </c:pt>
                  <c:pt idx="3">
                    <c:v>Banana Boat</c:v>
                  </c:pt>
                  <c:pt idx="4">
                    <c:v>Caribbean Beach</c:v>
                  </c:pt>
                  <c:pt idx="5">
                    <c:v>Isdin</c:v>
                  </c:pt>
                  <c:pt idx="6">
                    <c:v>Nuv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7294D5-F428-411C-BB60-EE74E55F2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AA44DB-9055-4A9F-9934-E5650B3B27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5FC044-7DCB-4D38-976D-6B69C8704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C44B40-9716-448C-A5DD-6B2C20398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CFF66FF-848E-4637-9EA9-78FB618C1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00645DC-001C-4D46-B265-F04D2C318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E830BA6-077D-4406-A9C7-0F1C524FE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2EB9AAA-340C-43F0-B91C-A3C790872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89.3015</c:v>
                </c:pt>
                <c:pt idx="1">
                  <c:v>228.2414</c:v>
                </c:pt>
                <c:pt idx="2">
                  <c:v>164.3133</c:v>
                </c:pt>
                <c:pt idx="3">
                  <c:v>221.1781</c:v>
                </c:pt>
              </c:numCache>
            </c:numRef>
          </c:xVal>
          <c:yVal>
            <c:numRef>
              <c:f>Sheet1!$B$2:$B$5</c:f>
              <c:numCache>
                <c:formatCode>General</c:formatCode>
                <c:ptCount val="4"/>
                <c:pt idx="0">
                  <c:v>0.88700000000000001</c:v>
                </c:pt>
                <c:pt idx="1">
                  <c:v>0.97699999999999998</c:v>
                </c:pt>
                <c:pt idx="2">
                  <c:v>0.81200000000000006</c:v>
                </c:pt>
                <c:pt idx="3">
                  <c:v>3.1429999999999998</c:v>
                </c:pt>
              </c:numCache>
            </c:numRef>
          </c:yVal>
          <c:bubbleSize>
            <c:numRef>
              <c:f>Sheet1!$C$2:$C$5</c:f>
              <c:numCache>
                <c:formatCode>General</c:formatCode>
                <c:ptCount val="4"/>
                <c:pt idx="0">
                  <c:v>22659005</c:v>
                </c:pt>
                <c:pt idx="1">
                  <c:v>21970290</c:v>
                </c:pt>
                <c:pt idx="2">
                  <c:v>4759827</c:v>
                </c:pt>
                <c:pt idx="3">
                  <c:v>1951454</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4"/>
          <c:min val="1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C79EA3-1C12-4DA3-957B-DC724F316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4A1B3D-7741-4E0C-967B-7B1683CDB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1E14BA-8328-4EFA-92D4-9BFC18B8A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FD3AC5-B7CE-468A-B7E8-C7DAEE5CF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E510AE-FCFB-4865-A7EB-3F0499194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71E25A0-C45B-41C7-881D-9694D8F84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DEAE77-3ACF-49F6-9962-0CADDED8D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FAD32F4-3DD8-4272-AF85-89D476AE7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64.59230000000002</c:v>
                </c:pt>
                <c:pt idx="1">
                  <c:v>602.28390000000002</c:v>
                </c:pt>
                <c:pt idx="2">
                  <c:v>168.8724</c:v>
                </c:pt>
                <c:pt idx="3">
                  <c:v>555.81200000000001</c:v>
                </c:pt>
                <c:pt idx="4">
                  <c:v>135.2869</c:v>
                </c:pt>
                <c:pt idx="5">
                  <c:v>550.4529</c:v>
                </c:pt>
                <c:pt idx="6">
                  <c:v>610.68579999999997</c:v>
                </c:pt>
              </c:numCache>
            </c:numRef>
          </c:xVal>
          <c:yVal>
            <c:numRef>
              <c:f>Sheet1!$B$2:$B$8</c:f>
              <c:numCache>
                <c:formatCode>General</c:formatCode>
                <c:ptCount val="7"/>
                <c:pt idx="0">
                  <c:v>1.0589999999999999</c:v>
                </c:pt>
                <c:pt idx="1">
                  <c:v>1.837</c:v>
                </c:pt>
                <c:pt idx="2">
                  <c:v>0.51900000000000002</c:v>
                </c:pt>
                <c:pt idx="3">
                  <c:v>8.6120000000000001</c:v>
                </c:pt>
                <c:pt idx="4">
                  <c:v>0.33</c:v>
                </c:pt>
                <c:pt idx="5">
                  <c:v>7.9</c:v>
                </c:pt>
                <c:pt idx="6">
                  <c:v>121.45</c:v>
                </c:pt>
              </c:numCache>
            </c:numRef>
          </c:yVal>
          <c:bubbleSize>
            <c:numRef>
              <c:f>Sheet1!$C$2:$C$8</c:f>
              <c:numCache>
                <c:formatCode>General</c:formatCode>
                <c:ptCount val="7"/>
                <c:pt idx="0">
                  <c:v>11510823</c:v>
                </c:pt>
                <c:pt idx="1">
                  <c:v>3118024</c:v>
                </c:pt>
                <c:pt idx="2">
                  <c:v>1565109</c:v>
                </c:pt>
                <c:pt idx="3">
                  <c:v>1546269</c:v>
                </c:pt>
                <c:pt idx="4">
                  <c:v>1453252</c:v>
                </c:pt>
                <c:pt idx="5">
                  <c:v>805863</c:v>
                </c:pt>
                <c:pt idx="6">
                  <c:v>330381</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Eucerin</c:v>
                  </c:pt>
                  <c:pt idx="4">
                    <c:v>Banana Boat</c:v>
                  </c:pt>
                  <c:pt idx="5">
                    <c:v>La Roche-Posay</c:v>
                  </c:pt>
                  <c:pt idx="6">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3"/>
          <c:min val="10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40F6B6-F275-4D5E-A47F-9B6E6443F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B0E592-D38D-4A8D-AEF3-964B89DB5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0D8242-4CE4-4E24-A23B-C97F5CDF3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53695B-4BB5-448B-A8A2-E9015C24E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A6C78A-8A9D-4BBC-A46D-FFF5A7AC3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A22600-0F65-4B69-815D-00E4A545A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38B60C0-E6A8-43D4-AA10-DCB89B7D4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5703590-7BBA-4BB8-94CA-CA489DDFF6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64.37270000000001</c:v>
                </c:pt>
                <c:pt idx="1">
                  <c:v>591.35900000000004</c:v>
                </c:pt>
                <c:pt idx="2">
                  <c:v>243.0667</c:v>
                </c:pt>
                <c:pt idx="3">
                  <c:v>539.03449999999998</c:v>
                </c:pt>
                <c:pt idx="4">
                  <c:v>524.27250000000004</c:v>
                </c:pt>
                <c:pt idx="5">
                  <c:v>376.23899999999998</c:v>
                </c:pt>
                <c:pt idx="6">
                  <c:v>276.94459999999998</c:v>
                </c:pt>
              </c:numCache>
            </c:numRef>
          </c:xVal>
          <c:yVal>
            <c:numRef>
              <c:f>Sheet1!$B$2:$B$8</c:f>
              <c:numCache>
                <c:formatCode>General</c:formatCode>
                <c:ptCount val="7"/>
                <c:pt idx="0">
                  <c:v>1.0669999999999999</c:v>
                </c:pt>
                <c:pt idx="1">
                  <c:v>1.3049999999999999</c:v>
                </c:pt>
                <c:pt idx="2">
                  <c:v>0.52600000000000002</c:v>
                </c:pt>
                <c:pt idx="3">
                  <c:v>5.0369999999999999</c:v>
                </c:pt>
                <c:pt idx="4">
                  <c:v>0.88600000000000001</c:v>
                </c:pt>
                <c:pt idx="5">
                  <c:v>1.4079999999999999</c:v>
                </c:pt>
                <c:pt idx="6">
                  <c:v>0.54100000000000004</c:v>
                </c:pt>
              </c:numCache>
            </c:numRef>
          </c:yVal>
          <c:bubbleSize>
            <c:numRef>
              <c:f>Sheet1!$C$2:$C$8</c:f>
              <c:numCache>
                <c:formatCode>General</c:formatCode>
                <c:ptCount val="7"/>
                <c:pt idx="0">
                  <c:v>2382217</c:v>
                </c:pt>
                <c:pt idx="1">
                  <c:v>2325815</c:v>
                </c:pt>
                <c:pt idx="2">
                  <c:v>1511389</c:v>
                </c:pt>
                <c:pt idx="3">
                  <c:v>717994</c:v>
                </c:pt>
                <c:pt idx="4">
                  <c:v>694661</c:v>
                </c:pt>
                <c:pt idx="5">
                  <c:v>401447</c:v>
                </c:pt>
                <c:pt idx="6">
                  <c:v>90007</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Nivea</c:v>
                  </c:pt>
                  <c:pt idx="3">
                    <c:v>Avene</c:v>
                  </c:pt>
                  <c:pt idx="4">
                    <c:v>Eucerin</c:v>
                  </c:pt>
                  <c:pt idx="5">
                    <c:v>Photoderm</c:v>
                  </c:pt>
                  <c:pt idx="6">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
          <c:min val="19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E36C39-3910-475D-B701-40951561C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DCE603-D5BD-454D-A087-19A6D3AA5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D49EDE-735C-4D5E-8C42-E8F27C0FD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87FE63-B6A8-403F-A109-0CE90414E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C0C94C-1495-47F6-BF44-DB2B7087B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A681703-00D2-4AAA-98B2-4F81B5D67A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795C2D0-D0A3-48BF-AE51-9EE383CE7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ABA0FA5-4F90-4E32-99D0-F5CC81A84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84.36989999999997</c:v>
                </c:pt>
                <c:pt idx="1">
                  <c:v>280.70580000000001</c:v>
                </c:pt>
                <c:pt idx="2">
                  <c:v>286.34730000000002</c:v>
                </c:pt>
                <c:pt idx="3">
                  <c:v>581.43769999999995</c:v>
                </c:pt>
                <c:pt idx="4">
                  <c:v>712.24929999999995</c:v>
                </c:pt>
              </c:numCache>
            </c:numRef>
          </c:xVal>
          <c:yVal>
            <c:numRef>
              <c:f>Sheet1!$B$2:$B$6</c:f>
              <c:numCache>
                <c:formatCode>General</c:formatCode>
                <c:ptCount val="5"/>
                <c:pt idx="0">
                  <c:v>1.01</c:v>
                </c:pt>
                <c:pt idx="1">
                  <c:v>0.95599999999999996</c:v>
                </c:pt>
                <c:pt idx="2">
                  <c:v>0.98399999999999999</c:v>
                </c:pt>
                <c:pt idx="3">
                  <c:v>4.0250000000000004</c:v>
                </c:pt>
                <c:pt idx="4">
                  <c:v>2.6709999999999998</c:v>
                </c:pt>
              </c:numCache>
            </c:numRef>
          </c:yVal>
          <c:bubbleSize>
            <c:numRef>
              <c:f>Sheet1!$C$2:$C$6</c:f>
              <c:numCache>
                <c:formatCode>General</c:formatCode>
                <c:ptCount val="5"/>
                <c:pt idx="0">
                  <c:v>7929085</c:v>
                </c:pt>
                <c:pt idx="1">
                  <c:v>7598986</c:v>
                </c:pt>
                <c:pt idx="2">
                  <c:v>7242010</c:v>
                </c:pt>
                <c:pt idx="3">
                  <c:v>429101</c:v>
                </c:pt>
                <c:pt idx="4">
                  <c:v>245726</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Isdin</c:v>
                  </c:pt>
                  <c:pt idx="4">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5"/>
          <c:min val="2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BFF078-883F-4109-B487-F54C13807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E613B5-7D42-47E4-9967-B029217A65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478C7D-B02E-4118-8227-9A643DD4C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68D014A-3C92-4D0F-8656-8471A36B8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2A59050-5FFD-49B0-B17E-221C7C055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B58AE9-86CC-4E0C-9AC1-B93D6F7E1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8EEB77F-DF4C-4941-B91A-2D17F2F42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0BD6137-8C29-4185-9396-29C10DE0B3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1.43049999999999</c:v>
                </c:pt>
                <c:pt idx="1">
                  <c:v>245.56880000000001</c:v>
                </c:pt>
                <c:pt idx="2">
                  <c:v>294.39339999999999</c:v>
                </c:pt>
                <c:pt idx="3">
                  <c:v>241.8605</c:v>
                </c:pt>
                <c:pt idx="4">
                  <c:v>80.912599999999998</c:v>
                </c:pt>
                <c:pt idx="5">
                  <c:v>614.81870000000004</c:v>
                </c:pt>
                <c:pt idx="6">
                  <c:v>73.085599999999999</c:v>
                </c:pt>
              </c:numCache>
            </c:numRef>
          </c:xVal>
          <c:yVal>
            <c:numRef>
              <c:f>Sheet1!$B$2:$B$8</c:f>
              <c:numCache>
                <c:formatCode>General</c:formatCode>
                <c:ptCount val="7"/>
                <c:pt idx="0">
                  <c:v>1.506</c:v>
                </c:pt>
                <c:pt idx="1">
                  <c:v>0.745</c:v>
                </c:pt>
                <c:pt idx="2">
                  <c:v>2.109</c:v>
                </c:pt>
                <c:pt idx="3">
                  <c:v>0.69399999999999995</c:v>
                </c:pt>
                <c:pt idx="4">
                  <c:v>0.42399999999999999</c:v>
                </c:pt>
                <c:pt idx="5">
                  <c:v>11.061</c:v>
                </c:pt>
                <c:pt idx="6">
                  <c:v>0.39200000000000002</c:v>
                </c:pt>
              </c:numCache>
            </c:numRef>
          </c:yVal>
          <c:bubbleSize>
            <c:numRef>
              <c:f>Sheet1!$C$2:$C$8</c:f>
              <c:numCache>
                <c:formatCode>General</c:formatCode>
                <c:ptCount val="7"/>
                <c:pt idx="0">
                  <c:v>27695220</c:v>
                </c:pt>
                <c:pt idx="1">
                  <c:v>9764061</c:v>
                </c:pt>
                <c:pt idx="2">
                  <c:v>9055836</c:v>
                </c:pt>
                <c:pt idx="3">
                  <c:v>7898680</c:v>
                </c:pt>
                <c:pt idx="4">
                  <c:v>5504728</c:v>
                </c:pt>
                <c:pt idx="5">
                  <c:v>2370126</c:v>
                </c:pt>
                <c:pt idx="6">
                  <c:v>152844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Neutrogena</c:v>
                  </c:pt>
                  <c:pt idx="3">
                    <c:v>Banana Boat</c:v>
                  </c:pt>
                  <c:pt idx="4">
                    <c:v>Caribbean Beach</c:v>
                  </c:pt>
                  <c:pt idx="5">
                    <c:v>Isdin</c:v>
                  </c:pt>
                  <c:pt idx="6">
                    <c:v>Nuv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8"/>
          <c:min val="5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FA9934-A312-4275-8FD5-9F182B35E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ABC9B3-1DB7-48FC-9EA0-F353A1202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CE1354-71AB-46F2-9AEA-D8963F6EB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2D1C74B-E5E9-4D2E-98F7-A45A2AAB2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ADC787E-B7CD-45BB-846D-D9217C64E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C797C45-4DEB-4273-9E2D-4D5E6CE5F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B2AEC92-3F7C-4627-BDAD-76DE35364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90FA06D-C8E4-43EA-AB57-D087FFA77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16.5162</c:v>
                </c:pt>
                <c:pt idx="1">
                  <c:v>182.10589999999999</c:v>
                </c:pt>
                <c:pt idx="2">
                  <c:v>163.6695</c:v>
                </c:pt>
                <c:pt idx="3">
                  <c:v>222.31460000000001</c:v>
                </c:pt>
              </c:numCache>
            </c:numRef>
          </c:xVal>
          <c:yVal>
            <c:numRef>
              <c:f>Sheet1!$B$2:$B$5</c:f>
              <c:numCache>
                <c:formatCode>General</c:formatCode>
                <c:ptCount val="4"/>
                <c:pt idx="0">
                  <c:v>0.96699999999999997</c:v>
                </c:pt>
                <c:pt idx="1">
                  <c:v>0.88700000000000001</c:v>
                </c:pt>
                <c:pt idx="2">
                  <c:v>0.80400000000000005</c:v>
                </c:pt>
                <c:pt idx="3">
                  <c:v>3.1339999999999999</c:v>
                </c:pt>
              </c:numCache>
            </c:numRef>
          </c:yVal>
          <c:bubbleSize>
            <c:numRef>
              <c:f>Sheet1!$C$2:$C$5</c:f>
              <c:numCache>
                <c:formatCode>General</c:formatCode>
                <c:ptCount val="4"/>
                <c:pt idx="0">
                  <c:v>22540199</c:v>
                </c:pt>
                <c:pt idx="1">
                  <c:v>14187871</c:v>
                </c:pt>
                <c:pt idx="2">
                  <c:v>3074204</c:v>
                </c:pt>
                <c:pt idx="3">
                  <c:v>149262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7"/>
          <c:min val="1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495157-2697-4803-B523-AE29A533D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F59570-46CD-4C64-A53C-95E5BACDB7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AE70CA-1773-4942-A9A2-352C57F80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45CAAB-8C93-457D-8618-9C4C4190F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7C8322-AA33-40E5-8032-CFFFD2266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F1535E0-A420-414F-A765-DA0F29AE5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1D633DB-7599-47F0-AD60-50EB3DED0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2253191-C7A3-47DE-9A6C-B2B300D66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1.59399999999999</c:v>
                </c:pt>
                <c:pt idx="1">
                  <c:v>133.5788</c:v>
                </c:pt>
                <c:pt idx="2">
                  <c:v>114.9379</c:v>
                </c:pt>
                <c:pt idx="3">
                  <c:v>221.82249999999999</c:v>
                </c:pt>
                <c:pt idx="4">
                  <c:v>53.630499999999998</c:v>
                </c:pt>
              </c:numCache>
            </c:numRef>
          </c:xVal>
          <c:yVal>
            <c:numRef>
              <c:f>Sheet1!$B$2:$B$6</c:f>
              <c:numCache>
                <c:formatCode>General</c:formatCode>
                <c:ptCount val="5"/>
                <c:pt idx="0">
                  <c:v>1.17</c:v>
                </c:pt>
                <c:pt idx="1">
                  <c:v>0.76100000000000001</c:v>
                </c:pt>
                <c:pt idx="2">
                  <c:v>0.997</c:v>
                </c:pt>
                <c:pt idx="3">
                  <c:v>1.778</c:v>
                </c:pt>
                <c:pt idx="4">
                  <c:v>0.39500000000000002</c:v>
                </c:pt>
              </c:numCache>
            </c:numRef>
          </c:yVal>
          <c:bubbleSize>
            <c:numRef>
              <c:f>Sheet1!$C$2:$C$6</c:f>
              <c:numCache>
                <c:formatCode>General</c:formatCode>
                <c:ptCount val="5"/>
                <c:pt idx="0">
                  <c:v>9270165</c:v>
                </c:pt>
                <c:pt idx="1">
                  <c:v>7397860</c:v>
                </c:pt>
                <c:pt idx="2">
                  <c:v>4436603</c:v>
                </c:pt>
                <c:pt idx="3">
                  <c:v>438765</c:v>
                </c:pt>
                <c:pt idx="4">
                  <c:v>284027</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Australian Gold</c:v>
                  </c:pt>
                  <c:pt idx="4">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6"/>
          <c:min val="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6ED861-F4A0-4D15-95FF-7B0ED2AAA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F33FBF4-F543-4B19-87BE-BCF8934B1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D0588BA-07BB-4DBB-A199-9A80B90E1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1A6755-0D2F-47C4-94AE-FD1A5499B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7F91E13-D55A-4291-A6AB-D397F93D6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EBD21C1-307B-4D3F-B3D5-749430BFA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35DCA8D-0142-4699-882D-24077DA2B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B56CAB5-204A-481A-A15C-9E5934C53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7.91129999999998</c:v>
                </c:pt>
                <c:pt idx="1">
                  <c:v>169.84389999999999</c:v>
                </c:pt>
                <c:pt idx="2">
                  <c:v>136.4699</c:v>
                </c:pt>
                <c:pt idx="3">
                  <c:v>603.70399999999995</c:v>
                </c:pt>
                <c:pt idx="4">
                  <c:v>555.28160000000003</c:v>
                </c:pt>
                <c:pt idx="5">
                  <c:v>513.76520000000005</c:v>
                </c:pt>
              </c:numCache>
            </c:numRef>
          </c:xVal>
          <c:yVal>
            <c:numRef>
              <c:f>Sheet1!$B$2:$B$7</c:f>
              <c:numCache>
                <c:formatCode>General</c:formatCode>
                <c:ptCount val="6"/>
                <c:pt idx="0">
                  <c:v>1.109</c:v>
                </c:pt>
                <c:pt idx="1">
                  <c:v>0.54500000000000004</c:v>
                </c:pt>
                <c:pt idx="2">
                  <c:v>0.33200000000000002</c:v>
                </c:pt>
                <c:pt idx="3">
                  <c:v>1.9319999999999999</c:v>
                </c:pt>
                <c:pt idx="4">
                  <c:v>9.2270000000000003</c:v>
                </c:pt>
                <c:pt idx="5">
                  <c:v>8.5660000000000007</c:v>
                </c:pt>
              </c:numCache>
            </c:numRef>
          </c:yVal>
          <c:bubbleSize>
            <c:numRef>
              <c:f>Sheet1!$C$2:$C$7</c:f>
              <c:numCache>
                <c:formatCode>General</c:formatCode>
                <c:ptCount val="6"/>
                <c:pt idx="0">
                  <c:v>10553829</c:v>
                </c:pt>
                <c:pt idx="1">
                  <c:v>1178207</c:v>
                </c:pt>
                <c:pt idx="2">
                  <c:v>940414</c:v>
                </c:pt>
                <c:pt idx="3">
                  <c:v>868730</c:v>
                </c:pt>
                <c:pt idx="4">
                  <c:v>865684</c:v>
                </c:pt>
                <c:pt idx="5">
                  <c:v>77013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Eucerin</c:v>
                  </c:pt>
                  <c:pt idx="5">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4"/>
          <c:min val="1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5728EA-EF34-4F42-B077-56940C2BC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7B19F3-6D6F-43A5-9FFF-00A3C7B5B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08997C-D500-4A0C-A055-A7F319143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071099-0E32-4CB5-916F-3070A64A5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65FEC5-3472-425A-B9EC-40F053E87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819ECF-3547-4547-ACC5-BAA71A721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46A7BF-EEA2-40FA-A239-CAD2B66D8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E98E891-33E8-40DC-A7CE-70F002A2D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4.84100000000001</c:v>
                </c:pt>
                <c:pt idx="1">
                  <c:v>613.18759999999997</c:v>
                </c:pt>
                <c:pt idx="2">
                  <c:v>587.87170000000003</c:v>
                </c:pt>
                <c:pt idx="3">
                  <c:v>525.45579999999995</c:v>
                </c:pt>
                <c:pt idx="4">
                  <c:v>314.7817</c:v>
                </c:pt>
                <c:pt idx="5">
                  <c:v>605.62210000000005</c:v>
                </c:pt>
                <c:pt idx="6">
                  <c:v>268.76769999999999</c:v>
                </c:pt>
              </c:numCache>
            </c:numRef>
          </c:xVal>
          <c:yVal>
            <c:numRef>
              <c:f>Sheet1!$B$2:$B$8</c:f>
              <c:numCache>
                <c:formatCode>General</c:formatCode>
                <c:ptCount val="7"/>
                <c:pt idx="0">
                  <c:v>0.52200000000000002</c:v>
                </c:pt>
                <c:pt idx="1">
                  <c:v>2.4020000000000001</c:v>
                </c:pt>
                <c:pt idx="2">
                  <c:v>2.1539999999999999</c:v>
                </c:pt>
                <c:pt idx="3">
                  <c:v>1.159</c:v>
                </c:pt>
                <c:pt idx="4">
                  <c:v>1.03</c:v>
                </c:pt>
                <c:pt idx="5">
                  <c:v>0</c:v>
                </c:pt>
                <c:pt idx="6">
                  <c:v>0.52600000000000002</c:v>
                </c:pt>
              </c:numCache>
            </c:numRef>
          </c:yVal>
          <c:bubbleSize>
            <c:numRef>
              <c:f>Sheet1!$C$2:$C$8</c:f>
              <c:numCache>
                <c:formatCode>General</c:formatCode>
                <c:ptCount val="7"/>
                <c:pt idx="0">
                  <c:v>1312348</c:v>
                </c:pt>
                <c:pt idx="1">
                  <c:v>1019731</c:v>
                </c:pt>
                <c:pt idx="2">
                  <c:v>888862</c:v>
                </c:pt>
                <c:pt idx="3">
                  <c:v>273237</c:v>
                </c:pt>
                <c:pt idx="4">
                  <c:v>230735</c:v>
                </c:pt>
                <c:pt idx="5">
                  <c:v>104167</c:v>
                </c:pt>
                <c:pt idx="6">
                  <c:v>68267</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La Roche-Posay</c:v>
                  </c:pt>
                  <c:pt idx="3">
                    <c:v>Eucerin</c:v>
                  </c:pt>
                  <c:pt idx="4">
                    <c:v>Photoderm</c:v>
                  </c:pt>
                  <c:pt idx="5">
                    <c:v>Avene</c:v>
                  </c:pt>
                  <c:pt idx="6">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6"/>
          <c:min val="19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F1239D-4E30-4BE0-9B75-5471CBA53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E06FD4-728E-46C2-8C16-2A122FB24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0C7B94-0AD7-4B9A-B29B-C54979B1D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77AEBC7-FF5D-4EF2-9340-BA40FA24B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7348698-CBEB-4E15-9478-1B9FDE106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1029068-9645-42CD-8917-11556EC2D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D72B698-A4AC-4B9D-8770-78D5CCD4F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8906A3B-37D5-413D-8314-8EB7FF7FB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79.1474</c:v>
                </c:pt>
                <c:pt idx="1">
                  <c:v>286.00220000000002</c:v>
                </c:pt>
                <c:pt idx="2">
                  <c:v>288.7124</c:v>
                </c:pt>
              </c:numCache>
            </c:numRef>
          </c:xVal>
          <c:yVal>
            <c:numRef>
              <c:f>Sheet1!$B$2:$B$4</c:f>
              <c:numCache>
                <c:formatCode>General</c:formatCode>
                <c:ptCount val="3"/>
                <c:pt idx="0">
                  <c:v>0.95599999999999996</c:v>
                </c:pt>
                <c:pt idx="1">
                  <c:v>1.014</c:v>
                </c:pt>
                <c:pt idx="2">
                  <c:v>1.004</c:v>
                </c:pt>
              </c:numCache>
            </c:numRef>
          </c:yVal>
          <c:bubbleSize>
            <c:numRef>
              <c:f>Sheet1!$C$2:$C$4</c:f>
              <c:numCache>
                <c:formatCode>General</c:formatCode>
                <c:ptCount val="3"/>
                <c:pt idx="0">
                  <c:v>8640450</c:v>
                </c:pt>
                <c:pt idx="1">
                  <c:v>8037806</c:v>
                </c:pt>
                <c:pt idx="2">
                  <c:v>7281905</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6"/>
          <c:min val="22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B$2:$B$8</c:f>
              <c:numCache>
                <c:formatCode>General</c:formatCode>
                <c:ptCount val="7"/>
                <c:pt idx="6">
                  <c:v>74.3605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C$2:$C$8</c:f>
              <c:numCache>
                <c:formatCode>General</c:formatCode>
                <c:ptCount val="7"/>
                <c:pt idx="0">
                  <c:v>175.0946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D$2:$D$8</c:f>
              <c:numCache>
                <c:formatCode>General</c:formatCode>
                <c:ptCount val="7"/>
                <c:pt idx="0">
                  <c:v>253.571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E$2:$E$8</c:f>
              <c:numCache>
                <c:formatCode>General</c:formatCode>
                <c:ptCount val="7"/>
                <c:pt idx="1">
                  <c:v>268.1046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F$2:$F$8</c:f>
              <c:numCache>
                <c:formatCode>General</c:formatCode>
                <c:ptCount val="7"/>
                <c:pt idx="0">
                  <c:v>257.13639999999998</c:v>
                </c:pt>
                <c:pt idx="3">
                  <c:v>304.4295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G$2:$G$8</c:f>
              <c:numCache>
                <c:formatCode>General</c:formatCode>
                <c:ptCount val="7"/>
                <c:pt idx="1">
                  <c:v>270.042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H$2:$H$8</c:f>
              <c:numCache>
                <c:formatCode>General</c:formatCode>
                <c:ptCount val="7"/>
                <c:pt idx="1">
                  <c:v>249.982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I$2:$I$8</c:f>
              <c:numCache>
                <c:formatCode>General</c:formatCode>
                <c:ptCount val="7"/>
                <c:pt idx="2">
                  <c:v>599.6027000000000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J$2:$J$8</c:f>
              <c:numCache>
                <c:formatCode>General</c:formatCode>
                <c:ptCount val="7"/>
                <c:pt idx="0">
                  <c:v>245.85820000000001</c:v>
                </c:pt>
                <c:pt idx="3">
                  <c:v>303.46109999999999</c:v>
                </c:pt>
                <c:pt idx="5">
                  <c:v>210.4214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K$2:$K$8</c:f>
              <c:numCache>
                <c:formatCode>General</c:formatCode>
                <c:ptCount val="7"/>
                <c:pt idx="0">
                  <c:v>231.72989999999999</c:v>
                </c:pt>
                <c:pt idx="2">
                  <c:v>582.9502</c:v>
                </c:pt>
                <c:pt idx="4">
                  <c:v>549.83249999999998</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B$2:$B$8</c:f>
              <c:numCache>
                <c:formatCode>General</c:formatCode>
                <c:ptCount val="7"/>
                <c:pt idx="1">
                  <c:v>185.38120000000001</c:v>
                </c:pt>
                <c:pt idx="2">
                  <c:v>227.1893</c:v>
                </c:pt>
                <c:pt idx="6">
                  <c:v>74.7125999999999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C$2:$C$8</c:f>
              <c:numCache>
                <c:formatCode>General</c:formatCode>
                <c:ptCount val="7"/>
                <c:pt idx="0">
                  <c:v>176.55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D$2:$D$8</c:f>
              <c:numCache>
                <c:formatCode>General</c:formatCode>
                <c:ptCount val="7"/>
                <c:pt idx="0">
                  <c:v>258.364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E$2:$E$8</c:f>
              <c:numCache>
                <c:formatCode>General</c:formatCode>
                <c:ptCount val="7"/>
                <c:pt idx="1">
                  <c:v>261.8571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F$2:$F$8</c:f>
              <c:numCache>
                <c:formatCode>General</c:formatCode>
                <c:ptCount val="7"/>
                <c:pt idx="0">
                  <c:v>255.91470000000001</c:v>
                </c:pt>
                <c:pt idx="2">
                  <c:v>302.360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G$2:$G$8</c:f>
              <c:numCache>
                <c:formatCode>General</c:formatCode>
                <c:ptCount val="7"/>
                <c:pt idx="1">
                  <c:v>253.372000000000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H$2:$H$8</c:f>
              <c:numCache>
                <c:formatCode>General</c:formatCode>
                <c:ptCount val="7"/>
                <c:pt idx="3">
                  <c:v>598.2966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I$2:$I$8</c:f>
              <c:numCache>
                <c:formatCode>General</c:formatCode>
                <c:ptCount val="7"/>
                <c:pt idx="0">
                  <c:v>246.47489999999999</c:v>
                </c:pt>
                <c:pt idx="2">
                  <c:v>301.15190000000001</c:v>
                </c:pt>
                <c:pt idx="4">
                  <c:v>207.643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J$2:$J$8</c:f>
              <c:numCache>
                <c:formatCode>General</c:formatCode>
                <c:ptCount val="7"/>
                <c:pt idx="0">
                  <c:v>229.9332</c:v>
                </c:pt>
                <c:pt idx="3">
                  <c:v>605.53930000000003</c:v>
                </c:pt>
                <c:pt idx="5">
                  <c:v>596.5851000000000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Isdin</c:v>
                </c:pt>
                <c:pt idx="2">
                  <c:v>La Roche-Posay</c:v>
                </c:pt>
                <c:pt idx="3">
                  <c:v>Neutrogena</c:v>
                </c:pt>
                <c:pt idx="4">
                  <c:v>L'Oreal: All Others</c:v>
                </c:pt>
                <c:pt idx="5">
                  <c:v>Photoderm</c:v>
                </c:pt>
              </c:strCache>
            </c:strRef>
          </c:cat>
          <c:val>
            <c:numRef>
              <c:f>Sheet1!$B$2:$B$7</c:f>
              <c:numCache>
                <c:formatCode>General</c:formatCode>
                <c:ptCount val="6"/>
                <c:pt idx="0">
                  <c:v>174.9781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Isdin</c:v>
                </c:pt>
                <c:pt idx="2">
                  <c:v>La Roche-Posay</c:v>
                </c:pt>
                <c:pt idx="3">
                  <c:v>Neutrogena</c:v>
                </c:pt>
                <c:pt idx="4">
                  <c:v>L'Oreal: All Others</c:v>
                </c:pt>
                <c:pt idx="5">
                  <c:v>Photoderm</c:v>
                </c:pt>
              </c:strCache>
            </c:strRef>
          </c:cat>
          <c:val>
            <c:numRef>
              <c:f>Sheet1!$C$2:$C$7</c:f>
              <c:numCache>
                <c:formatCode>General</c:formatCode>
                <c:ptCount val="6"/>
                <c:pt idx="0">
                  <c:v>257.7812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Isdin</c:v>
                </c:pt>
                <c:pt idx="2">
                  <c:v>La Roche-Posay</c:v>
                </c:pt>
                <c:pt idx="3">
                  <c:v>Neutrogena</c:v>
                </c:pt>
                <c:pt idx="4">
                  <c:v>L'Oreal: All Others</c:v>
                </c:pt>
                <c:pt idx="5">
                  <c:v>Photoderm</c:v>
                </c:pt>
              </c:strCache>
            </c:strRef>
          </c:cat>
          <c:val>
            <c:numRef>
              <c:f>Sheet1!$D$2:$D$7</c:f>
              <c:numCache>
                <c:formatCode>General</c:formatCode>
                <c:ptCount val="6"/>
                <c:pt idx="0">
                  <c:v>257.11</c:v>
                </c:pt>
                <c:pt idx="3">
                  <c:v>311.4334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Isdin</c:v>
                </c:pt>
                <c:pt idx="2">
                  <c:v>La Roche-Posay</c:v>
                </c:pt>
                <c:pt idx="3">
                  <c:v>Neutrogena</c:v>
                </c:pt>
                <c:pt idx="4">
                  <c:v>L'Oreal: All Others</c:v>
                </c:pt>
                <c:pt idx="5">
                  <c:v>Photoderm</c:v>
                </c:pt>
              </c:strCache>
            </c:strRef>
          </c:cat>
          <c:val>
            <c:numRef>
              <c:f>Sheet1!$E$2:$E$7</c:f>
              <c:numCache>
                <c:formatCode>General</c:formatCode>
                <c:ptCount val="6"/>
                <c:pt idx="1">
                  <c:v>584.0303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Isdin</c:v>
                </c:pt>
                <c:pt idx="2">
                  <c:v>La Roche-Posay</c:v>
                </c:pt>
                <c:pt idx="3">
                  <c:v>Neutrogena</c:v>
                </c:pt>
                <c:pt idx="4">
                  <c:v>L'Oreal: All Others</c:v>
                </c:pt>
                <c:pt idx="5">
                  <c:v>Photoderm</c:v>
                </c:pt>
              </c:strCache>
            </c:strRef>
          </c:cat>
          <c:val>
            <c:numRef>
              <c:f>Sheet1!$F$2:$F$7</c:f>
              <c:numCache>
                <c:formatCode>General</c:formatCode>
                <c:ptCount val="6"/>
                <c:pt idx="0">
                  <c:v>242.1233</c:v>
                </c:pt>
                <c:pt idx="3">
                  <c:v>304.4008</c:v>
                </c:pt>
                <c:pt idx="4">
                  <c:v>210.88800000000001</c:v>
                </c:pt>
                <c:pt idx="5">
                  <c:v>439.8845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Isdin</c:v>
                </c:pt>
                <c:pt idx="2">
                  <c:v>La Roche-Posay</c:v>
                </c:pt>
                <c:pt idx="3">
                  <c:v>Neutrogena</c:v>
                </c:pt>
                <c:pt idx="4">
                  <c:v>L'Oreal: All Others</c:v>
                </c:pt>
                <c:pt idx="5">
                  <c:v>Photoderm</c:v>
                </c:pt>
              </c:strCache>
            </c:strRef>
          </c:cat>
          <c:val>
            <c:numRef>
              <c:f>Sheet1!$G$2:$G$7</c:f>
              <c:numCache>
                <c:formatCode>General</c:formatCode>
                <c:ptCount val="6"/>
                <c:pt idx="0">
                  <c:v>234.99590000000001</c:v>
                </c:pt>
                <c:pt idx="1">
                  <c:v>554.5367</c:v>
                </c:pt>
                <c:pt idx="2">
                  <c:v>529.6068000000000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L'Oreal: All Others</c:v>
                </c:pt>
                <c:pt idx="4">
                  <c:v>Inds.Lavin De Mexico: All Others</c:v>
                </c:pt>
                <c:pt idx="5">
                  <c:v>Nuvel</c:v>
                </c:pt>
              </c:strCache>
            </c:strRef>
          </c:cat>
          <c:val>
            <c:numRef>
              <c:f>Sheet1!$B$2:$B$7</c:f>
              <c:numCache>
                <c:formatCode>General</c:formatCode>
                <c:ptCount val="6"/>
                <c:pt idx="5">
                  <c:v>73.7171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L'Oreal: All Others</c:v>
                </c:pt>
                <c:pt idx="4">
                  <c:v>Inds.Lavin De Mexico: All Others</c:v>
                </c:pt>
                <c:pt idx="5">
                  <c:v>Nuvel</c:v>
                </c:pt>
              </c:strCache>
            </c:strRef>
          </c:cat>
          <c:val>
            <c:numRef>
              <c:f>Sheet1!$C$2:$C$7</c:f>
              <c:numCache>
                <c:formatCode>General</c:formatCode>
                <c:ptCount val="6"/>
                <c:pt idx="0">
                  <c:v>180.23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L'Oreal: All Others</c:v>
                </c:pt>
                <c:pt idx="4">
                  <c:v>Inds.Lavin De Mexico: All Others</c:v>
                </c:pt>
                <c:pt idx="5">
                  <c:v>Nuvel</c:v>
                </c:pt>
              </c:strCache>
            </c:strRef>
          </c:cat>
          <c:val>
            <c:numRef>
              <c:f>Sheet1!$D$2:$D$7</c:f>
              <c:numCache>
                <c:formatCode>General</c:formatCode>
                <c:ptCount val="6"/>
                <c:pt idx="0">
                  <c:v>234.5583</c:v>
                </c:pt>
                <c:pt idx="4">
                  <c:v>90.2907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L'Oreal: All Others</c:v>
                </c:pt>
                <c:pt idx="4">
                  <c:v>Inds.Lavin De Mexico: All Others</c:v>
                </c:pt>
                <c:pt idx="5">
                  <c:v>Nuvel</c:v>
                </c:pt>
              </c:strCache>
            </c:strRef>
          </c:cat>
          <c:val>
            <c:numRef>
              <c:f>Sheet1!$E$2:$E$7</c:f>
              <c:numCache>
                <c:formatCode>General</c:formatCode>
                <c:ptCount val="6"/>
                <c:pt idx="0">
                  <c:v>252.47409999999999</c:v>
                </c:pt>
                <c:pt idx="2">
                  <c:v>282.8960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L'Oreal: All Others</c:v>
                </c:pt>
                <c:pt idx="4">
                  <c:v>Inds.Lavin De Mexico: All Others</c:v>
                </c:pt>
                <c:pt idx="5">
                  <c:v>Nuvel</c:v>
                </c:pt>
              </c:strCache>
            </c:strRef>
          </c:cat>
          <c:val>
            <c:numRef>
              <c:f>Sheet1!$F$2:$F$7</c:f>
              <c:numCache>
                <c:formatCode>General</c:formatCode>
                <c:ptCount val="6"/>
                <c:pt idx="1">
                  <c:v>239.2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L'Oreal: All Others</c:v>
                </c:pt>
                <c:pt idx="4">
                  <c:v>Inds.Lavin De Mexico: All Others</c:v>
                </c:pt>
                <c:pt idx="5">
                  <c:v>Nuvel</c:v>
                </c:pt>
              </c:strCache>
            </c:strRef>
          </c:cat>
          <c:val>
            <c:numRef>
              <c:f>Sheet1!$G$2:$G$7</c:f>
              <c:numCache>
                <c:formatCode>General</c:formatCode>
                <c:ptCount val="6"/>
                <c:pt idx="0">
                  <c:v>249.07130000000001</c:v>
                </c:pt>
                <c:pt idx="2">
                  <c:v>304.64350000000002</c:v>
                </c:pt>
                <c:pt idx="3">
                  <c:v>214.70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L'Oreal: All Others</c:v>
                </c:pt>
                <c:pt idx="4">
                  <c:v>Inds.Lavin De Mexico: All Others</c:v>
                </c:pt>
                <c:pt idx="5">
                  <c:v>Nuvel</c:v>
                </c:pt>
              </c:strCache>
            </c:strRef>
          </c:cat>
          <c:val>
            <c:numRef>
              <c:f>Sheet1!$H$2:$H$7</c:f>
              <c:numCache>
                <c:formatCode>General</c:formatCode>
                <c:ptCount val="6"/>
                <c:pt idx="0">
                  <c:v>227.9311999999999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B$2:$B$8</c:f>
              <c:numCache>
                <c:formatCode>General</c:formatCode>
                <c:ptCount val="7"/>
                <c:pt idx="6">
                  <c:v>74.4418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C$2:$C$8</c:f>
              <c:numCache>
                <c:formatCode>General</c:formatCode>
                <c:ptCount val="7"/>
                <c:pt idx="0">
                  <c:v>176.1552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D$2:$D$8</c:f>
              <c:numCache>
                <c:formatCode>General</c:formatCode>
                <c:ptCount val="7"/>
                <c:pt idx="0">
                  <c:v>254.321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E$2:$E$8</c:f>
              <c:numCache>
                <c:formatCode>General</c:formatCode>
                <c:ptCount val="7"/>
                <c:pt idx="0">
                  <c:v>256.20549999999997</c:v>
                </c:pt>
                <c:pt idx="3">
                  <c:v>305.2633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F$2:$F$8</c:f>
              <c:numCache>
                <c:formatCode>General</c:formatCode>
                <c:ptCount val="7"/>
                <c:pt idx="1">
                  <c:v>251.1160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G$2:$G$8</c:f>
              <c:numCache>
                <c:formatCode>General</c:formatCode>
                <c:ptCount val="7"/>
                <c:pt idx="2">
                  <c:v>609.5992999999999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H$2:$H$8</c:f>
              <c:numCache>
                <c:formatCode>General</c:formatCode>
                <c:ptCount val="7"/>
                <c:pt idx="0">
                  <c:v>245.96190000000001</c:v>
                </c:pt>
                <c:pt idx="3">
                  <c:v>301.47949999999997</c:v>
                </c:pt>
                <c:pt idx="4">
                  <c:v>208.2984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I$2:$I$8</c:f>
              <c:numCache>
                <c:formatCode>General</c:formatCode>
                <c:ptCount val="7"/>
                <c:pt idx="0">
                  <c:v>229.56639999999999</c:v>
                </c:pt>
                <c:pt idx="2">
                  <c:v>601.17520000000002</c:v>
                </c:pt>
                <c:pt idx="5">
                  <c:v>575.73739999999998</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B$2:$B$8</c:f>
              <c:numCache>
                <c:formatCode>General</c:formatCode>
                <c:ptCount val="7"/>
                <c:pt idx="1">
                  <c:v>182.73269999999999</c:v>
                </c:pt>
                <c:pt idx="6">
                  <c:v>74.8204000000000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C$2:$C$8</c:f>
              <c:numCache>
                <c:formatCode>General</c:formatCode>
                <c:ptCount val="7"/>
                <c:pt idx="0">
                  <c:v>177.10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D$2:$D$8</c:f>
              <c:numCache>
                <c:formatCode>General</c:formatCode>
                <c:ptCount val="7"/>
                <c:pt idx="0">
                  <c:v>263.899800000000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E$2:$E$8</c:f>
              <c:numCache>
                <c:formatCode>General</c:formatCode>
                <c:ptCount val="7"/>
                <c:pt idx="1">
                  <c:v>287.1750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F$2:$F$8</c:f>
              <c:numCache>
                <c:formatCode>General</c:formatCode>
                <c:ptCount val="7"/>
                <c:pt idx="0">
                  <c:v>261.04660000000001</c:v>
                </c:pt>
                <c:pt idx="3">
                  <c:v>312.669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G$2:$G$8</c:f>
              <c:numCache>
                <c:formatCode>General</c:formatCode>
                <c:ptCount val="7"/>
                <c:pt idx="1">
                  <c:v>284.7710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H$2:$H$8</c:f>
              <c:numCache>
                <c:formatCode>General</c:formatCode>
                <c:ptCount val="7"/>
                <c:pt idx="1">
                  <c:v>256.3278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I$2:$I$8</c:f>
              <c:numCache>
                <c:formatCode>General</c:formatCode>
                <c:ptCount val="7"/>
                <c:pt idx="2">
                  <c:v>608.715599999999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J$2:$J$8</c:f>
              <c:numCache>
                <c:formatCode>General</c:formatCode>
                <c:ptCount val="7"/>
                <c:pt idx="0">
                  <c:v>245.40479999999999</c:v>
                </c:pt>
                <c:pt idx="3">
                  <c:v>304.60079999999999</c:v>
                </c:pt>
                <c:pt idx="5">
                  <c:v>214.7692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K$2:$K$8</c:f>
              <c:numCache>
                <c:formatCode>General</c:formatCode>
                <c:ptCount val="7"/>
                <c:pt idx="0">
                  <c:v>234.66229999999999</c:v>
                </c:pt>
                <c:pt idx="2">
                  <c:v>592.23889999999994</c:v>
                </c:pt>
                <c:pt idx="4">
                  <c:v>561.2594000000000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All Others</c:v>
                </c:pt>
                <c:pt idx="6">
                  <c:v>Nuvel</c:v>
                </c:pt>
              </c:strCache>
            </c:strRef>
          </c:cat>
          <c:val>
            <c:numRef>
              <c:f>Sheet1!$L$2:$L$8</c:f>
              <c:numCache>
                <c:formatCode>General</c:formatCode>
                <c:ptCount val="7"/>
                <c:pt idx="1">
                  <c:v>96.5779</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B$2:$B$8</c:f>
              <c:numCache>
                <c:formatCode>General</c:formatCode>
                <c:ptCount val="7"/>
                <c:pt idx="0">
                  <c:v>166.52160000000001</c:v>
                </c:pt>
                <c:pt idx="3">
                  <c:v>122.818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C$2:$C$8</c:f>
              <c:numCache>
                <c:formatCode>General</c:formatCode>
                <c:ptCount val="7"/>
                <c:pt idx="0">
                  <c:v>270.7844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D$2:$D$8</c:f>
              <c:numCache>
                <c:formatCode>General</c:formatCode>
                <c:ptCount val="7"/>
                <c:pt idx="0">
                  <c:v>265.23390000000001</c:v>
                </c:pt>
                <c:pt idx="2">
                  <c:v>316.8095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E$2:$E$8</c:f>
              <c:numCache>
                <c:formatCode>General</c:formatCode>
                <c:ptCount val="7"/>
                <c:pt idx="1">
                  <c:v>253.9935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F$2:$F$8</c:f>
              <c:numCache>
                <c:formatCode>General</c:formatCode>
                <c:ptCount val="7"/>
                <c:pt idx="0">
                  <c:v>247.24209999999999</c:v>
                </c:pt>
                <c:pt idx="2">
                  <c:v>308.53570000000002</c:v>
                </c:pt>
                <c:pt idx="5">
                  <c:v>209.335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G$2:$G$8</c:f>
              <c:numCache>
                <c:formatCode>General</c:formatCode>
                <c:ptCount val="7"/>
                <c:pt idx="0">
                  <c:v>234.9486</c:v>
                </c:pt>
                <c:pt idx="4">
                  <c:v>615.47239999999999</c:v>
                </c:pt>
                <c:pt idx="6">
                  <c:v>554.01160000000004</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6BED1E-0ACC-4A64-B2BE-7C34F98D1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15AD63-0E43-4722-97F8-758649308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E6CCC7-A749-4991-9513-C40E1EB60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0F5171-1B4C-486F-8A6D-D03E46E3E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35C1B5-9116-40C8-8343-60A8589B2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203781-BB97-4CA8-99C5-F70A8193A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729A5E-65D7-4250-890C-845164BD2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82639D0-E3CF-45A4-A02B-E5E0A9B1A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3.2715</c:v>
                </c:pt>
                <c:pt idx="1">
                  <c:v>196.10319999999999</c:v>
                </c:pt>
                <c:pt idx="2">
                  <c:v>221.018</c:v>
                </c:pt>
                <c:pt idx="3">
                  <c:v>291.04020000000003</c:v>
                </c:pt>
                <c:pt idx="4">
                  <c:v>591.12919999999997</c:v>
                </c:pt>
                <c:pt idx="5">
                  <c:v>84.543899999999994</c:v>
                </c:pt>
                <c:pt idx="6">
                  <c:v>569.41700000000003</c:v>
                </c:pt>
              </c:numCache>
            </c:numRef>
          </c:xVal>
          <c:yVal>
            <c:numRef>
              <c:f>Sheet1!$B$2:$B$8</c:f>
              <c:numCache>
                <c:formatCode>General</c:formatCode>
                <c:ptCount val="7"/>
                <c:pt idx="0">
                  <c:v>1.0229999999999999</c:v>
                </c:pt>
                <c:pt idx="1">
                  <c:v>0.73799999999999999</c:v>
                </c:pt>
                <c:pt idx="2">
                  <c:v>0.71799999999999997</c:v>
                </c:pt>
                <c:pt idx="3">
                  <c:v>1.9770000000000001</c:v>
                </c:pt>
                <c:pt idx="4">
                  <c:v>4.1139999999999999</c:v>
                </c:pt>
                <c:pt idx="5">
                  <c:v>0.39600000000000002</c:v>
                </c:pt>
                <c:pt idx="6">
                  <c:v>4.7729999999999997</c:v>
                </c:pt>
              </c:numCache>
            </c:numRef>
          </c:yVal>
          <c:bubbleSize>
            <c:numRef>
              <c:f>Sheet1!$C$2:$C$8</c:f>
              <c:numCache>
                <c:formatCode>General</c:formatCode>
                <c:ptCount val="7"/>
                <c:pt idx="0">
                  <c:v>111274571</c:v>
                </c:pt>
                <c:pt idx="1">
                  <c:v>54283907</c:v>
                </c:pt>
                <c:pt idx="2">
                  <c:v>39712741</c:v>
                </c:pt>
                <c:pt idx="3">
                  <c:v>28036189</c:v>
                </c:pt>
                <c:pt idx="4">
                  <c:v>25478849</c:v>
                </c:pt>
                <c:pt idx="5">
                  <c:v>13021033</c:v>
                </c:pt>
                <c:pt idx="6">
                  <c:v>9237082</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B$2:$B$8</c:f>
              <c:numCache>
                <c:formatCode>General</c:formatCode>
                <c:ptCount val="7"/>
                <c:pt idx="1">
                  <c:v>182.76990000000001</c:v>
                </c:pt>
                <c:pt idx="6">
                  <c:v>74.3605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C$2:$C$8</c:f>
              <c:numCache>
                <c:formatCode>General</c:formatCode>
                <c:ptCount val="7"/>
                <c:pt idx="0">
                  <c:v>175.0946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D$2:$D$8</c:f>
              <c:numCache>
                <c:formatCode>General</c:formatCode>
                <c:ptCount val="7"/>
                <c:pt idx="0">
                  <c:v>253.575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E$2:$E$8</c:f>
              <c:numCache>
                <c:formatCode>General</c:formatCode>
                <c:ptCount val="7"/>
                <c:pt idx="1">
                  <c:v>268.102700000000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F$2:$F$8</c:f>
              <c:numCache>
                <c:formatCode>General</c:formatCode>
                <c:ptCount val="7"/>
                <c:pt idx="0">
                  <c:v>262.10059999999999</c:v>
                </c:pt>
                <c:pt idx="3">
                  <c:v>304.4295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G$2:$G$8</c:f>
              <c:numCache>
                <c:formatCode>General</c:formatCode>
                <c:ptCount val="7"/>
                <c:pt idx="1">
                  <c:v>270.042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H$2:$H$8</c:f>
              <c:numCache>
                <c:formatCode>General</c:formatCode>
                <c:ptCount val="7"/>
                <c:pt idx="1">
                  <c:v>257.9377000000000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I$2:$I$8</c:f>
              <c:numCache>
                <c:formatCode>General</c:formatCode>
                <c:ptCount val="7"/>
                <c:pt idx="2">
                  <c:v>599.6027000000000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J$2:$J$8</c:f>
              <c:numCache>
                <c:formatCode>General</c:formatCode>
                <c:ptCount val="7"/>
                <c:pt idx="0">
                  <c:v>245.85820000000001</c:v>
                </c:pt>
                <c:pt idx="3">
                  <c:v>306.64359999999999</c:v>
                </c:pt>
                <c:pt idx="4">
                  <c:v>210.883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K$2:$K$8</c:f>
              <c:numCache>
                <c:formatCode>General</c:formatCode>
                <c:ptCount val="7"/>
                <c:pt idx="0">
                  <c:v>231.72989999999999</c:v>
                </c:pt>
                <c:pt idx="2">
                  <c:v>582.9502</c:v>
                </c:pt>
                <c:pt idx="5">
                  <c:v>566.5883</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Vichy</c:v>
                </c:pt>
                <c:pt idx="1">
                  <c:v>Neutrogena</c:v>
                </c:pt>
                <c:pt idx="2">
                  <c:v>Photoderm</c:v>
                </c:pt>
                <c:pt idx="3">
                  <c:v>Others Marca Unif.</c:v>
                </c:pt>
                <c:pt idx="4">
                  <c:v>L'Oreal: All Others</c:v>
                </c:pt>
              </c:strCache>
            </c:strRef>
          </c:cat>
          <c:val>
            <c:numRef>
              <c:f>Sheet1!$B$2:$B$6</c:f>
              <c:numCache>
                <c:formatCode>General</c:formatCode>
                <c:ptCount val="5"/>
                <c:pt idx="3">
                  <c:v>166.478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06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Photoderm</c:v>
                </c:pt>
                <c:pt idx="3">
                  <c:v>Others Marca Unif.</c:v>
                </c:pt>
                <c:pt idx="4">
                  <c:v>L'Oreal: All Others</c:v>
                </c:pt>
              </c:strCache>
            </c:strRef>
          </c:cat>
          <c:val>
            <c:numRef>
              <c:f>Sheet1!$C$2:$C$6</c:f>
              <c:numCache>
                <c:formatCode>General</c:formatCode>
                <c:ptCount val="5"/>
                <c:pt idx="0">
                  <c:v>742.845400000000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18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Photoderm</c:v>
                </c:pt>
                <c:pt idx="3">
                  <c:v>Others Marca Unif.</c:v>
                </c:pt>
                <c:pt idx="4">
                  <c:v>L'Oreal: All Others</c:v>
                </c:pt>
              </c:strCache>
            </c:strRef>
          </c:cat>
          <c:val>
            <c:numRef>
              <c:f>Sheet1!$D$2:$D$6</c:f>
              <c:numCache>
                <c:formatCode>General</c:formatCode>
                <c:ptCount val="5"/>
                <c:pt idx="0">
                  <c:v>661.4483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21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Photoderm</c:v>
                </c:pt>
                <c:pt idx="3">
                  <c:v>Others Marca Unif.</c:v>
                </c:pt>
                <c:pt idx="4">
                  <c:v>L'Oreal: All Others</c:v>
                </c:pt>
              </c:strCache>
            </c:strRef>
          </c:cat>
          <c:val>
            <c:numRef>
              <c:f>Sheet1!$E$2:$E$6</c:f>
              <c:numCache>
                <c:formatCode>General</c:formatCode>
                <c:ptCount val="5"/>
                <c:pt idx="0">
                  <c:v>706.137100000000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Photoderm</c:v>
                </c:pt>
                <c:pt idx="3">
                  <c:v>Others Marca Unif.</c:v>
                </c:pt>
                <c:pt idx="4">
                  <c:v>L'Oreal: All Others</c:v>
                </c:pt>
              </c:strCache>
            </c:strRef>
          </c:cat>
          <c:val>
            <c:numRef>
              <c:f>Sheet1!$F$2:$F$6</c:f>
              <c:numCache>
                <c:formatCode>General</c:formatCode>
                <c:ptCount val="5"/>
                <c:pt idx="0">
                  <c:v>497.04899999999998</c:v>
                </c:pt>
                <c:pt idx="1">
                  <c:v>166.61779999999999</c:v>
                </c:pt>
                <c:pt idx="2">
                  <c:v>306.58069999999998</c:v>
                </c:pt>
                <c:pt idx="4">
                  <c:v>168.4651000000000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77ML</c:v>
                </c:pt>
              </c:strCache>
            </c:strRef>
          </c:tx>
          <c:spPr>
            <a:ln w="19050">
              <a:noFill/>
            </a:ln>
          </c:spPr>
          <c:marker>
            <c:symbol val="dash"/>
            <c:size val="20"/>
            <c:spPr>
              <a:solidFill>
                <a:srgbClr val="FFE5E5"/>
              </a:solidFill>
              <a:ln w="9525">
                <a:noFill/>
              </a:ln>
              <a:effectLst/>
            </c:spPr>
          </c:marker>
          <c:cat>
            <c:strRef>
              <c:f>Sheet1!$A$2:$A$2</c:f>
              <c:strCache>
                <c:ptCount val="1"/>
                <c:pt idx="0">
                  <c:v>Others Marca Unif.</c:v>
                </c:pt>
              </c:strCache>
            </c:strRef>
          </c:cat>
          <c:val>
            <c:numRef>
              <c:f>Sheet1!$B$2:$B$2</c:f>
              <c:numCache>
                <c:formatCode>General</c:formatCode>
                <c:ptCount val="1"/>
                <c:pt idx="0">
                  <c:v>159.3925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Others Marca Unif.</c:v>
                </c:pt>
              </c:strCache>
            </c:strRef>
          </c:cat>
          <c:val>
            <c:numRef>
              <c:f>Sheet1!$B$2:$B$3</c:f>
              <c:numCache>
                <c:formatCode>General</c:formatCode>
                <c:ptCount val="2"/>
                <c:pt idx="1">
                  <c:v>136.530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6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Nivea</c:v>
                </c:pt>
                <c:pt idx="1">
                  <c:v>Others Marca Unif.</c:v>
                </c:pt>
              </c:strCache>
            </c:strRef>
          </c:cat>
          <c:val>
            <c:numRef>
              <c:f>Sheet1!$C$2:$C$3</c:f>
              <c:numCache>
                <c:formatCode>General</c:formatCode>
                <c:ptCount val="2"/>
                <c:pt idx="1">
                  <c:v>168.090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cat>
            <c:strRef>
              <c:f>Sheet1!$A$2:$A$3</c:f>
              <c:strCache>
                <c:ptCount val="2"/>
                <c:pt idx="0">
                  <c:v>Nivea</c:v>
                </c:pt>
                <c:pt idx="1">
                  <c:v>Others Marca Unif.</c:v>
                </c:pt>
              </c:strCache>
            </c:strRef>
          </c:cat>
          <c:val>
            <c:numRef>
              <c:f>Sheet1!$D$2:$D$3</c:f>
              <c:numCache>
                <c:formatCode>General</c:formatCode>
                <c:ptCount val="2"/>
                <c:pt idx="0">
                  <c:v>114.94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Nivea</c:v>
                </c:pt>
                <c:pt idx="1">
                  <c:v>Others Marca Unif.</c:v>
                </c:pt>
              </c:strCache>
            </c:strRef>
          </c:cat>
          <c:val>
            <c:numRef>
              <c:f>Sheet1!$E$2:$E$3</c:f>
              <c:numCache>
                <c:formatCode>General</c:formatCode>
                <c:ptCount val="2"/>
                <c:pt idx="1">
                  <c:v>75.96349999999999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B$2:$B$8</c:f>
              <c:numCache>
                <c:formatCode>General</c:formatCode>
                <c:ptCount val="7"/>
                <c:pt idx="1">
                  <c:v>185.38120000000001</c:v>
                </c:pt>
                <c:pt idx="2">
                  <c:v>227.1893</c:v>
                </c:pt>
                <c:pt idx="6">
                  <c:v>74.7125999999999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C$2:$C$8</c:f>
              <c:numCache>
                <c:formatCode>General</c:formatCode>
                <c:ptCount val="7"/>
                <c:pt idx="0">
                  <c:v>176.55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D$2:$D$8</c:f>
              <c:numCache>
                <c:formatCode>General</c:formatCode>
                <c:ptCount val="7"/>
                <c:pt idx="0">
                  <c:v>258.364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E$2:$E$8</c:f>
              <c:numCache>
                <c:formatCode>General</c:formatCode>
                <c:ptCount val="7"/>
                <c:pt idx="1">
                  <c:v>261.8464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F$2:$F$8</c:f>
              <c:numCache>
                <c:formatCode>General</c:formatCode>
                <c:ptCount val="7"/>
                <c:pt idx="0">
                  <c:v>260.30739999999997</c:v>
                </c:pt>
                <c:pt idx="2">
                  <c:v>302.360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G$2:$G$8</c:f>
              <c:numCache>
                <c:formatCode>General</c:formatCode>
                <c:ptCount val="7"/>
                <c:pt idx="1">
                  <c:v>259.0842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H$2:$H$8</c:f>
              <c:numCache>
                <c:formatCode>General</c:formatCode>
                <c:ptCount val="7"/>
                <c:pt idx="3">
                  <c:v>598.2966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I$2:$I$8</c:f>
              <c:numCache>
                <c:formatCode>General</c:formatCode>
                <c:ptCount val="7"/>
                <c:pt idx="0">
                  <c:v>246.47489999999999</c:v>
                </c:pt>
                <c:pt idx="2">
                  <c:v>304.11840000000001</c:v>
                </c:pt>
                <c:pt idx="4">
                  <c:v>208.1791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J$2:$J$8</c:f>
              <c:numCache>
                <c:formatCode>General</c:formatCode>
                <c:ptCount val="7"/>
                <c:pt idx="0">
                  <c:v>229.9332</c:v>
                </c:pt>
                <c:pt idx="3">
                  <c:v>605.53930000000003</c:v>
                </c:pt>
                <c:pt idx="5">
                  <c:v>598.62639999999999</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eutrogena</c:v>
                </c:pt>
                <c:pt idx="1">
                  <c:v>L'Oreal: All Others</c:v>
                </c:pt>
                <c:pt idx="2">
                  <c:v>Vichy</c:v>
                </c:pt>
                <c:pt idx="3">
                  <c:v>Others Marca Unif.</c:v>
                </c:pt>
                <c:pt idx="4">
                  <c:v>Photoderm</c:v>
                </c:pt>
                <c:pt idx="5">
                  <c:v>Nivea</c:v>
                </c:pt>
              </c:strCache>
            </c:strRef>
          </c:cat>
          <c:val>
            <c:numRef>
              <c:f>Sheet1!$B$2:$B$7</c:f>
              <c:numCache>
                <c:formatCode>General</c:formatCode>
                <c:ptCount val="6"/>
                <c:pt idx="3">
                  <c:v>165.9515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L'Oreal: All Others</c:v>
                </c:pt>
                <c:pt idx="2">
                  <c:v>Vichy</c:v>
                </c:pt>
                <c:pt idx="3">
                  <c:v>Others Marca Unif.</c:v>
                </c:pt>
                <c:pt idx="4">
                  <c:v>Photoderm</c:v>
                </c:pt>
                <c:pt idx="5">
                  <c:v>Nivea</c:v>
                </c:pt>
              </c:strCache>
            </c:strRef>
          </c:cat>
          <c:val>
            <c:numRef>
              <c:f>Sheet1!$C$2:$C$7</c:f>
              <c:numCache>
                <c:formatCode>General</c:formatCode>
                <c:ptCount val="6"/>
                <c:pt idx="3">
                  <c:v>400.9286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06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L'Oreal: All Others</c:v>
                </c:pt>
                <c:pt idx="2">
                  <c:v>Vichy</c:v>
                </c:pt>
                <c:pt idx="3">
                  <c:v>Others Marca Unif.</c:v>
                </c:pt>
                <c:pt idx="4">
                  <c:v>Photoderm</c:v>
                </c:pt>
                <c:pt idx="5">
                  <c:v>Nivea</c:v>
                </c:pt>
              </c:strCache>
            </c:strRef>
          </c:cat>
          <c:val>
            <c:numRef>
              <c:f>Sheet1!$D$2:$D$7</c:f>
              <c:numCache>
                <c:formatCode>General</c:formatCode>
                <c:ptCount val="6"/>
                <c:pt idx="2">
                  <c:v>623.55169999999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L'Oreal: All Others</c:v>
                </c:pt>
                <c:pt idx="2">
                  <c:v>Vichy</c:v>
                </c:pt>
                <c:pt idx="3">
                  <c:v>Others Marca Unif.</c:v>
                </c:pt>
                <c:pt idx="4">
                  <c:v>Photoderm</c:v>
                </c:pt>
                <c:pt idx="5">
                  <c:v>Nivea</c:v>
                </c:pt>
              </c:strCache>
            </c:strRef>
          </c:cat>
          <c:val>
            <c:numRef>
              <c:f>Sheet1!$E$2:$E$7</c:f>
              <c:numCache>
                <c:formatCode>General</c:formatCode>
                <c:ptCount val="6"/>
                <c:pt idx="5">
                  <c:v>356.051300000000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L'Oreal: All Others</c:v>
                </c:pt>
                <c:pt idx="2">
                  <c:v>Vichy</c:v>
                </c:pt>
                <c:pt idx="3">
                  <c:v>Others Marca Unif.</c:v>
                </c:pt>
                <c:pt idx="4">
                  <c:v>Photoderm</c:v>
                </c:pt>
                <c:pt idx="5">
                  <c:v>Nivea</c:v>
                </c:pt>
              </c:strCache>
            </c:strRef>
          </c:cat>
          <c:val>
            <c:numRef>
              <c:f>Sheet1!$F$2:$F$7</c:f>
              <c:numCache>
                <c:formatCode>General</c:formatCode>
                <c:ptCount val="6"/>
                <c:pt idx="0">
                  <c:v>177.94710000000001</c:v>
                </c:pt>
                <c:pt idx="1">
                  <c:v>169.42519999999999</c:v>
                </c:pt>
                <c:pt idx="2">
                  <c:v>394.73860000000002</c:v>
                </c:pt>
                <c:pt idx="4">
                  <c:v>453.3238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eutrogena</c:v>
                </c:pt>
                <c:pt idx="1">
                  <c:v>L'Oreal: All Others</c:v>
                </c:pt>
                <c:pt idx="2">
                  <c:v>Vichy</c:v>
                </c:pt>
                <c:pt idx="3">
                  <c:v>Others Marca Unif.</c:v>
                </c:pt>
                <c:pt idx="4">
                  <c:v>Photoderm</c:v>
                </c:pt>
                <c:pt idx="5">
                  <c:v>Nivea</c:v>
                </c:pt>
              </c:strCache>
            </c:strRef>
          </c:cat>
          <c:val>
            <c:numRef>
              <c:f>Sheet1!$G$2:$G$7</c:f>
              <c:numCache>
                <c:formatCode>General</c:formatCode>
                <c:ptCount val="6"/>
                <c:pt idx="2">
                  <c:v>359.5443000000000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L'Oreal: All Others</c:v>
                </c:pt>
                <c:pt idx="6">
                  <c:v>Photoderm</c:v>
                </c:pt>
              </c:strCache>
            </c:strRef>
          </c:cat>
          <c:val>
            <c:numRef>
              <c:f>Sheet1!$B$2:$B$8</c:f>
              <c:numCache>
                <c:formatCode>General</c:formatCode>
                <c:ptCount val="7"/>
                <c:pt idx="0">
                  <c:v>174.9781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L'Oreal: All Others</c:v>
                </c:pt>
                <c:pt idx="6">
                  <c:v>Photoderm</c:v>
                </c:pt>
              </c:strCache>
            </c:strRef>
          </c:cat>
          <c:val>
            <c:numRef>
              <c:f>Sheet1!$C$2:$C$8</c:f>
              <c:numCache>
                <c:formatCode>General</c:formatCode>
                <c:ptCount val="7"/>
                <c:pt idx="0">
                  <c:v>257.7812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L'Oreal: All Others</c:v>
                </c:pt>
                <c:pt idx="6">
                  <c:v>Photoderm</c:v>
                </c:pt>
              </c:strCache>
            </c:strRef>
          </c:cat>
          <c:val>
            <c:numRef>
              <c:f>Sheet1!$D$2:$D$8</c:f>
              <c:numCache>
                <c:formatCode>General</c:formatCode>
                <c:ptCount val="7"/>
                <c:pt idx="2">
                  <c:v>256.49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L'Oreal: All Others</c:v>
                </c:pt>
                <c:pt idx="6">
                  <c:v>Photoderm</c:v>
                </c:pt>
              </c:strCache>
            </c:strRef>
          </c:cat>
          <c:val>
            <c:numRef>
              <c:f>Sheet1!$E$2:$E$8</c:f>
              <c:numCache>
                <c:formatCode>General</c:formatCode>
                <c:ptCount val="7"/>
                <c:pt idx="0">
                  <c:v>261.5206</c:v>
                </c:pt>
                <c:pt idx="4">
                  <c:v>311.4334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L'Oreal: All Others</c:v>
                </c:pt>
                <c:pt idx="6">
                  <c:v>Photoderm</c:v>
                </c:pt>
              </c:strCache>
            </c:strRef>
          </c:cat>
          <c:val>
            <c:numRef>
              <c:f>Sheet1!$F$2:$F$8</c:f>
              <c:numCache>
                <c:formatCode>General</c:formatCode>
                <c:ptCount val="7"/>
                <c:pt idx="2">
                  <c:v>254.8461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L'Oreal: All Others</c:v>
                </c:pt>
                <c:pt idx="6">
                  <c:v>Photoderm</c:v>
                </c:pt>
              </c:strCache>
            </c:strRef>
          </c:cat>
          <c:val>
            <c:numRef>
              <c:f>Sheet1!$G$2:$G$8</c:f>
              <c:numCache>
                <c:formatCode>General</c:formatCode>
                <c:ptCount val="7"/>
                <c:pt idx="1">
                  <c:v>584.0303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L'Oreal: All Others</c:v>
                </c:pt>
                <c:pt idx="6">
                  <c:v>Photoderm</c:v>
                </c:pt>
              </c:strCache>
            </c:strRef>
          </c:cat>
          <c:val>
            <c:numRef>
              <c:f>Sheet1!$H$2:$H$8</c:f>
              <c:numCache>
                <c:formatCode>General</c:formatCode>
                <c:ptCount val="7"/>
                <c:pt idx="0">
                  <c:v>242.1233</c:v>
                </c:pt>
                <c:pt idx="4">
                  <c:v>306.8261</c:v>
                </c:pt>
                <c:pt idx="5">
                  <c:v>211.19980000000001</c:v>
                </c:pt>
                <c:pt idx="6">
                  <c:v>480.4252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L'Oreal: All Others</c:v>
                </c:pt>
                <c:pt idx="6">
                  <c:v>Photoderm</c:v>
                </c:pt>
              </c:strCache>
            </c:strRef>
          </c:cat>
          <c:val>
            <c:numRef>
              <c:f>Sheet1!$I$2:$I$8</c:f>
              <c:numCache>
                <c:formatCode>General</c:formatCode>
                <c:ptCount val="7"/>
                <c:pt idx="0">
                  <c:v>234.99590000000001</c:v>
                </c:pt>
                <c:pt idx="1">
                  <c:v>554.5367</c:v>
                </c:pt>
                <c:pt idx="3">
                  <c:v>550.46929999999998</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06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Vichy</c:v>
                </c:pt>
                <c:pt idx="1">
                  <c:v>Photoderm</c:v>
                </c:pt>
              </c:strCache>
            </c:strRef>
          </c:cat>
          <c:val>
            <c:numRef>
              <c:f>Sheet1!$B$2:$B$3</c:f>
              <c:numCache>
                <c:formatCode>General</c:formatCode>
                <c:ptCount val="2"/>
                <c:pt idx="0">
                  <c:v>758.674600000000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18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Vichy</c:v>
                </c:pt>
                <c:pt idx="1">
                  <c:v>Photoderm</c:v>
                </c:pt>
              </c:strCache>
            </c:strRef>
          </c:cat>
          <c:val>
            <c:numRef>
              <c:f>Sheet1!$C$2:$C$3</c:f>
              <c:numCache>
                <c:formatCode>General</c:formatCode>
                <c:ptCount val="2"/>
                <c:pt idx="0">
                  <c:v>662.3416999999999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21ML</c:v>
                </c:pt>
              </c:strCache>
            </c:strRef>
          </c:tx>
          <c:spPr>
            <a:ln w="19050">
              <a:noFill/>
            </a:ln>
          </c:spPr>
          <c:marker>
            <c:symbol val="dash"/>
            <c:size val="20"/>
            <c:spPr>
              <a:solidFill>
                <a:srgbClr val="CC66FF"/>
              </a:solidFill>
              <a:ln w="9525">
                <a:noFill/>
              </a:ln>
              <a:effectLst/>
            </c:spPr>
          </c:marker>
          <c:cat>
            <c:strRef>
              <c:f>Sheet1!$A$2:$A$3</c:f>
              <c:strCache>
                <c:ptCount val="2"/>
                <c:pt idx="0">
                  <c:v>Vichy</c:v>
                </c:pt>
                <c:pt idx="1">
                  <c:v>Photoderm</c:v>
                </c:pt>
              </c:strCache>
            </c:strRef>
          </c:cat>
          <c:val>
            <c:numRef>
              <c:f>Sheet1!$D$2:$D$3</c:f>
              <c:numCache>
                <c:formatCode>General</c:formatCode>
                <c:ptCount val="2"/>
                <c:pt idx="0">
                  <c:v>704.0303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Vichy</c:v>
                </c:pt>
                <c:pt idx="1">
                  <c:v>Photoderm</c:v>
                </c:pt>
              </c:strCache>
            </c:strRef>
          </c:cat>
          <c:val>
            <c:numRef>
              <c:f>Sheet1!$E$2:$E$3</c:f>
              <c:numCache>
                <c:formatCode>General</c:formatCode>
                <c:ptCount val="2"/>
                <c:pt idx="0">
                  <c:v>500.4914</c:v>
                </c:pt>
                <c:pt idx="1">
                  <c:v>277.673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3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Vichy</c:v>
                </c:pt>
                <c:pt idx="1">
                  <c:v>Photoderm</c:v>
                </c:pt>
              </c:strCache>
            </c:strRef>
          </c:cat>
          <c:val>
            <c:numRef>
              <c:f>Sheet1!$F$2:$F$3</c:f>
              <c:numCache>
                <c:formatCode>General</c:formatCode>
                <c:ptCount val="2"/>
                <c:pt idx="0">
                  <c:v>499.2423999999999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L'Oreal: All Others</c:v>
                </c:pt>
                <c:pt idx="4">
                  <c:v>Inds.Lavin De Mexico: All Others</c:v>
                </c:pt>
                <c:pt idx="5">
                  <c:v>Nuvel</c:v>
                </c:pt>
              </c:strCache>
            </c:strRef>
          </c:cat>
          <c:val>
            <c:numRef>
              <c:f>Sheet1!$B$2:$B$7</c:f>
              <c:numCache>
                <c:formatCode>General</c:formatCode>
                <c:ptCount val="6"/>
                <c:pt idx="2">
                  <c:v>223.2473</c:v>
                </c:pt>
                <c:pt idx="5">
                  <c:v>73.7171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L'Oreal: All Others</c:v>
                </c:pt>
                <c:pt idx="4">
                  <c:v>Inds.Lavin De Mexico: All Others</c:v>
                </c:pt>
                <c:pt idx="5">
                  <c:v>Nuvel</c:v>
                </c:pt>
              </c:strCache>
            </c:strRef>
          </c:cat>
          <c:val>
            <c:numRef>
              <c:f>Sheet1!$C$2:$C$7</c:f>
              <c:numCache>
                <c:formatCode>General</c:formatCode>
                <c:ptCount val="6"/>
                <c:pt idx="0">
                  <c:v>180.23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L'Oreal: All Others</c:v>
                </c:pt>
                <c:pt idx="4">
                  <c:v>Inds.Lavin De Mexico: All Others</c:v>
                </c:pt>
                <c:pt idx="5">
                  <c:v>Nuvel</c:v>
                </c:pt>
              </c:strCache>
            </c:strRef>
          </c:cat>
          <c:val>
            <c:numRef>
              <c:f>Sheet1!$D$2:$D$7</c:f>
              <c:numCache>
                <c:formatCode>General</c:formatCode>
                <c:ptCount val="6"/>
                <c:pt idx="0">
                  <c:v>234.5583</c:v>
                </c:pt>
                <c:pt idx="4">
                  <c:v>90.2907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L'Oreal: All Others</c:v>
                </c:pt>
                <c:pt idx="4">
                  <c:v>Inds.Lavin De Mexico: All Others</c:v>
                </c:pt>
                <c:pt idx="5">
                  <c:v>Nuvel</c:v>
                </c:pt>
              </c:strCache>
            </c:strRef>
          </c:cat>
          <c:val>
            <c:numRef>
              <c:f>Sheet1!$E$2:$E$7</c:f>
              <c:numCache>
                <c:formatCode>General</c:formatCode>
                <c:ptCount val="6"/>
                <c:pt idx="0">
                  <c:v>257.73649999999998</c:v>
                </c:pt>
                <c:pt idx="2">
                  <c:v>282.8960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L'Oreal: All Others</c:v>
                </c:pt>
                <c:pt idx="4">
                  <c:v>Inds.Lavin De Mexico: All Others</c:v>
                </c:pt>
                <c:pt idx="5">
                  <c:v>Nuvel</c:v>
                </c:pt>
              </c:strCache>
            </c:strRef>
          </c:cat>
          <c:val>
            <c:numRef>
              <c:f>Sheet1!$F$2:$F$7</c:f>
              <c:numCache>
                <c:formatCode>General</c:formatCode>
                <c:ptCount val="6"/>
                <c:pt idx="1">
                  <c:v>252.5596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L'Oreal: All Others</c:v>
                </c:pt>
                <c:pt idx="4">
                  <c:v>Inds.Lavin De Mexico: All Others</c:v>
                </c:pt>
                <c:pt idx="5">
                  <c:v>Nuvel</c:v>
                </c:pt>
              </c:strCache>
            </c:strRef>
          </c:cat>
          <c:val>
            <c:numRef>
              <c:f>Sheet1!$G$2:$G$7</c:f>
              <c:numCache>
                <c:formatCode>General</c:formatCode>
                <c:ptCount val="6"/>
                <c:pt idx="0">
                  <c:v>249.07130000000001</c:v>
                </c:pt>
                <c:pt idx="2">
                  <c:v>308.70659999999998</c:v>
                </c:pt>
                <c:pt idx="3">
                  <c:v>214.928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L'Oreal: All Others</c:v>
                </c:pt>
                <c:pt idx="4">
                  <c:v>Inds.Lavin De Mexico: All Others</c:v>
                </c:pt>
                <c:pt idx="5">
                  <c:v>Nuvel</c:v>
                </c:pt>
              </c:strCache>
            </c:strRef>
          </c:cat>
          <c:val>
            <c:numRef>
              <c:f>Sheet1!$H$2:$H$7</c:f>
              <c:numCache>
                <c:formatCode>General</c:formatCode>
                <c:ptCount val="6"/>
                <c:pt idx="0">
                  <c:v>227.9311999999999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Hawaiian Tropic</c:v>
                </c:pt>
                <c:pt idx="1">
                  <c:v>Others Marca Unif.</c:v>
                </c:pt>
                <c:pt idx="2">
                  <c:v>Nivea</c:v>
                </c:pt>
              </c:strCache>
            </c:strRef>
          </c:cat>
          <c:val>
            <c:numRef>
              <c:f>Sheet1!$B$2:$B$4</c:f>
              <c:numCache>
                <c:formatCode>General</c:formatCode>
                <c:ptCount val="3"/>
                <c:pt idx="1">
                  <c:v>137.6804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6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Hawaiian Tropic</c:v>
                </c:pt>
                <c:pt idx="1">
                  <c:v>Others Marca Unif.</c:v>
                </c:pt>
                <c:pt idx="2">
                  <c:v>Nivea</c:v>
                </c:pt>
              </c:strCache>
            </c:strRef>
          </c:cat>
          <c:val>
            <c:numRef>
              <c:f>Sheet1!$C$2:$C$4</c:f>
              <c:numCache>
                <c:formatCode>General</c:formatCode>
                <c:ptCount val="3"/>
                <c:pt idx="1">
                  <c:v>167.6014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Hawaiian Tropic</c:v>
                </c:pt>
                <c:pt idx="1">
                  <c:v>Others Marca Unif.</c:v>
                </c:pt>
                <c:pt idx="2">
                  <c:v>Nivea</c:v>
                </c:pt>
              </c:strCache>
            </c:strRef>
          </c:cat>
          <c:val>
            <c:numRef>
              <c:f>Sheet1!$D$2:$D$4</c:f>
              <c:numCache>
                <c:formatCode>General</c:formatCode>
                <c:ptCount val="3"/>
                <c:pt idx="2">
                  <c:v>116.8264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Hawaiian Tropic</c:v>
                </c:pt>
                <c:pt idx="1">
                  <c:v>Others Marca Unif.</c:v>
                </c:pt>
                <c:pt idx="2">
                  <c:v>Nivea</c:v>
                </c:pt>
              </c:strCache>
            </c:strRef>
          </c:cat>
          <c:val>
            <c:numRef>
              <c:f>Sheet1!$E$2:$E$4</c:f>
              <c:numCache>
                <c:formatCode>General</c:formatCode>
                <c:ptCount val="3"/>
                <c:pt idx="0">
                  <c:v>150.407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5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Hawaiian Tropic</c:v>
                </c:pt>
                <c:pt idx="1">
                  <c:v>Others Marca Unif.</c:v>
                </c:pt>
                <c:pt idx="2">
                  <c:v>Nivea</c:v>
                </c:pt>
              </c:strCache>
            </c:strRef>
          </c:cat>
          <c:val>
            <c:numRef>
              <c:f>Sheet1!$F$2:$F$4</c:f>
              <c:numCache>
                <c:formatCode>General</c:formatCode>
                <c:ptCount val="3"/>
                <c:pt idx="1">
                  <c:v>75.98980000000000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87C401-2834-4437-9A19-9D802EE41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C9FF73-0746-4D0E-8193-622B93885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8699D4-E69B-4594-9178-CF67BD30C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90813D-E51C-4E2E-A8DC-848C25442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5F6D8F-5CC1-4845-AAA5-CD3E01405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00911C-5168-435D-A852-EAC8C10D7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46B58D-147A-4A3D-B585-B23283540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529327E-841B-4FEA-96E8-9D65B0D9F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77.94710000000001</c:v>
                </c:pt>
                <c:pt idx="1">
                  <c:v>495.51510000000002</c:v>
                </c:pt>
                <c:pt idx="2">
                  <c:v>500.47800000000001</c:v>
                </c:pt>
                <c:pt idx="3">
                  <c:v>527.24919999999997</c:v>
                </c:pt>
                <c:pt idx="4">
                  <c:v>240.24010000000001</c:v>
                </c:pt>
                <c:pt idx="5">
                  <c:v>195.91919999999999</c:v>
                </c:pt>
                <c:pt idx="6">
                  <c:v>346.16039999999998</c:v>
                </c:pt>
              </c:numCache>
            </c:numRef>
          </c:xVal>
          <c:yVal>
            <c:numRef>
              <c:f>Sheet1!$B$2:$B$8</c:f>
              <c:numCache>
                <c:formatCode>General</c:formatCode>
                <c:ptCount val="7"/>
                <c:pt idx="0">
                  <c:v>1.228</c:v>
                </c:pt>
                <c:pt idx="1">
                  <c:v>17.943999999999999</c:v>
                </c:pt>
                <c:pt idx="2">
                  <c:v>1.6679999999999999</c:v>
                </c:pt>
                <c:pt idx="3">
                  <c:v>0.78500000000000003</c:v>
                </c:pt>
                <c:pt idx="4">
                  <c:v>1.766</c:v>
                </c:pt>
                <c:pt idx="5">
                  <c:v>19.556000000000001</c:v>
                </c:pt>
                <c:pt idx="6">
                  <c:v>0</c:v>
                </c:pt>
              </c:numCache>
            </c:numRef>
          </c:yVal>
          <c:bubbleSize>
            <c:numRef>
              <c:f>Sheet1!$C$2:$C$8</c:f>
              <c:numCache>
                <c:formatCode>General</c:formatCode>
                <c:ptCount val="7"/>
                <c:pt idx="0">
                  <c:v>238805</c:v>
                </c:pt>
                <c:pt idx="1">
                  <c:v>213567</c:v>
                </c:pt>
                <c:pt idx="2">
                  <c:v>205196</c:v>
                </c:pt>
                <c:pt idx="3">
                  <c:v>165029</c:v>
                </c:pt>
                <c:pt idx="4">
                  <c:v>133093</c:v>
                </c:pt>
                <c:pt idx="5">
                  <c:v>77584</c:v>
                </c:pt>
                <c:pt idx="6">
                  <c:v>64732</c:v>
                </c:pt>
              </c:numCache>
            </c:numRef>
          </c:bubbleSize>
          <c:bubble3D val="0"/>
          <c:extLst>
            <c:ext xmlns:c15="http://schemas.microsoft.com/office/drawing/2012/chart" uri="{02D57815-91ED-43cb-92C2-25804820EDAC}">
              <c15:datalabelsRange>
                <c15:f>Sheet1!$E$2:$E$10</c15:f>
                <c15:dlblRangeCache>
                  <c:ptCount val="9"/>
                  <c:pt idx="0">
                    <c:v>Neutrogena</c:v>
                  </c:pt>
                  <c:pt idx="1">
                    <c:v>Avene</c:v>
                  </c:pt>
                  <c:pt idx="2">
                    <c:v>Eucerin</c:v>
                  </c:pt>
                  <c:pt idx="3">
                    <c:v>Eclipsol</c:v>
                  </c:pt>
                  <c:pt idx="4">
                    <c:v>Vichy</c:v>
                  </c:pt>
                  <c:pt idx="5">
                    <c:v>La Roche-Posay</c:v>
                  </c:pt>
                  <c:pt idx="6">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33"/>
          <c:min val="14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B$2:$B$8</c:f>
              <c:numCache>
                <c:formatCode>General</c:formatCode>
                <c:ptCount val="7"/>
                <c:pt idx="6">
                  <c:v>74.4418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C$2:$C$8</c:f>
              <c:numCache>
                <c:formatCode>General</c:formatCode>
                <c:ptCount val="7"/>
                <c:pt idx="0">
                  <c:v>176.1552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D$2:$D$8</c:f>
              <c:numCache>
                <c:formatCode>General</c:formatCode>
                <c:ptCount val="7"/>
                <c:pt idx="0">
                  <c:v>254.34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E$2:$E$8</c:f>
              <c:numCache>
                <c:formatCode>General</c:formatCode>
                <c:ptCount val="7"/>
                <c:pt idx="1">
                  <c:v>270.2964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F$2:$F$8</c:f>
              <c:numCache>
                <c:formatCode>General</c:formatCode>
                <c:ptCount val="7"/>
                <c:pt idx="0">
                  <c:v>260.5351</c:v>
                </c:pt>
                <c:pt idx="3">
                  <c:v>305.2633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G$2:$G$8</c:f>
              <c:numCache>
                <c:formatCode>General</c:formatCode>
                <c:ptCount val="7"/>
                <c:pt idx="1">
                  <c:v>256.3942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H$2:$H$8</c:f>
              <c:numCache>
                <c:formatCode>General</c:formatCode>
                <c:ptCount val="7"/>
                <c:pt idx="2">
                  <c:v>609.5992999999999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I$2:$I$8</c:f>
              <c:numCache>
                <c:formatCode>General</c:formatCode>
                <c:ptCount val="7"/>
                <c:pt idx="0">
                  <c:v>245.96190000000001</c:v>
                </c:pt>
                <c:pt idx="3">
                  <c:v>304.52179999999998</c:v>
                </c:pt>
                <c:pt idx="4">
                  <c:v>208.6973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J$2:$J$8</c:f>
              <c:numCache>
                <c:formatCode>General</c:formatCode>
                <c:ptCount val="7"/>
                <c:pt idx="0">
                  <c:v>229.56639999999999</c:v>
                </c:pt>
                <c:pt idx="2">
                  <c:v>601.17520000000002</c:v>
                </c:pt>
                <c:pt idx="5">
                  <c:v>587.00329999999997</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Vichy</c:v>
                </c:pt>
                <c:pt idx="1">
                  <c:v>Neutrogena</c:v>
                </c:pt>
                <c:pt idx="2">
                  <c:v>L'Oreal: All Others</c:v>
                </c:pt>
                <c:pt idx="3">
                  <c:v>Photoderm</c:v>
                </c:pt>
                <c:pt idx="4">
                  <c:v>Others Marca Unif.</c:v>
                </c:pt>
              </c:strCache>
            </c:strRef>
          </c:cat>
          <c:val>
            <c:numRef>
              <c:f>Sheet1!$B$2:$B$6</c:f>
              <c:numCache>
                <c:formatCode>General</c:formatCode>
                <c:ptCount val="5"/>
                <c:pt idx="4">
                  <c:v>162.0644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06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L'Oreal: All Others</c:v>
                </c:pt>
                <c:pt idx="3">
                  <c:v>Photoderm</c:v>
                </c:pt>
                <c:pt idx="4">
                  <c:v>Others Marca Unif.</c:v>
                </c:pt>
              </c:strCache>
            </c:strRef>
          </c:cat>
          <c:val>
            <c:numRef>
              <c:f>Sheet1!$C$2:$C$6</c:f>
              <c:numCache>
                <c:formatCode>General</c:formatCode>
                <c:ptCount val="5"/>
                <c:pt idx="0">
                  <c:v>7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18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L'Oreal: All Others</c:v>
                </c:pt>
                <c:pt idx="3">
                  <c:v>Photoderm</c:v>
                </c:pt>
                <c:pt idx="4">
                  <c:v>Others Marca Unif.</c:v>
                </c:pt>
              </c:strCache>
            </c:strRef>
          </c:cat>
          <c:val>
            <c:numRef>
              <c:f>Sheet1!$D$2:$D$6</c:f>
              <c:numCache>
                <c:formatCode>General</c:formatCode>
                <c:ptCount val="5"/>
                <c:pt idx="0">
                  <c:v>667.1794999999999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21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L'Oreal: All Others</c:v>
                </c:pt>
                <c:pt idx="3">
                  <c:v>Photoderm</c:v>
                </c:pt>
                <c:pt idx="4">
                  <c:v>Others Marca Unif.</c:v>
                </c:pt>
              </c:strCache>
            </c:strRef>
          </c:cat>
          <c:val>
            <c:numRef>
              <c:f>Sheet1!$E$2:$E$6</c:f>
              <c:numCache>
                <c:formatCode>General</c:formatCode>
                <c:ptCount val="5"/>
                <c:pt idx="0">
                  <c:v>730.216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L'Oreal: All Others</c:v>
                </c:pt>
                <c:pt idx="3">
                  <c:v>Photoderm</c:v>
                </c:pt>
                <c:pt idx="4">
                  <c:v>Others Marca Unif.</c:v>
                </c:pt>
              </c:strCache>
            </c:strRef>
          </c:cat>
          <c:val>
            <c:numRef>
              <c:f>Sheet1!$F$2:$F$6</c:f>
              <c:numCache>
                <c:formatCode>General</c:formatCode>
                <c:ptCount val="5"/>
                <c:pt idx="0">
                  <c:v>524.69330000000002</c:v>
                </c:pt>
                <c:pt idx="1">
                  <c:v>180.78749999999999</c:v>
                </c:pt>
                <c:pt idx="2">
                  <c:v>175.0609</c:v>
                </c:pt>
                <c:pt idx="3">
                  <c:v>348.7869999999999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Others Marca Unif.</c:v>
                </c:pt>
              </c:strCache>
            </c:strRef>
          </c:cat>
          <c:val>
            <c:numRef>
              <c:f>Sheet1!$B$2:$B$3</c:f>
              <c:numCache>
                <c:formatCode>General</c:formatCode>
                <c:ptCount val="2"/>
                <c:pt idx="1">
                  <c:v>146.3581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Nivea</c:v>
                </c:pt>
                <c:pt idx="1">
                  <c:v>Others Marca Unif.</c:v>
                </c:pt>
              </c:strCache>
            </c:strRef>
          </c:cat>
          <c:val>
            <c:numRef>
              <c:f>Sheet1!$C$2:$C$3</c:f>
              <c:numCache>
                <c:formatCode>General</c:formatCode>
                <c:ptCount val="2"/>
                <c:pt idx="0">
                  <c:v>114.512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B$2:$B$8</c:f>
              <c:numCache>
                <c:formatCode>General</c:formatCode>
                <c:ptCount val="7"/>
                <c:pt idx="1">
                  <c:v>182.73269999999999</c:v>
                </c:pt>
                <c:pt idx="6">
                  <c:v>74.8204000000000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C$2:$C$8</c:f>
              <c:numCache>
                <c:formatCode>General</c:formatCode>
                <c:ptCount val="7"/>
                <c:pt idx="0">
                  <c:v>177.10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D$2:$D$8</c:f>
              <c:numCache>
                <c:formatCode>General</c:formatCode>
                <c:ptCount val="7"/>
                <c:pt idx="0">
                  <c:v>263.899800000000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E$2:$E$8</c:f>
              <c:numCache>
                <c:formatCode>General</c:formatCode>
                <c:ptCount val="7"/>
                <c:pt idx="1">
                  <c:v>287.1750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F$2:$F$8</c:f>
              <c:numCache>
                <c:formatCode>General</c:formatCode>
                <c:ptCount val="7"/>
                <c:pt idx="0">
                  <c:v>266.93049999999999</c:v>
                </c:pt>
                <c:pt idx="3">
                  <c:v>312.669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G$2:$G$8</c:f>
              <c:numCache>
                <c:formatCode>General</c:formatCode>
                <c:ptCount val="7"/>
                <c:pt idx="1">
                  <c:v>284.7710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H$2:$H$8</c:f>
              <c:numCache>
                <c:formatCode>General</c:formatCode>
                <c:ptCount val="7"/>
                <c:pt idx="1">
                  <c:v>263.6603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I$2:$I$8</c:f>
              <c:numCache>
                <c:formatCode>General</c:formatCode>
                <c:ptCount val="7"/>
                <c:pt idx="2">
                  <c:v>608.715599999999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J$2:$J$8</c:f>
              <c:numCache>
                <c:formatCode>General</c:formatCode>
                <c:ptCount val="7"/>
                <c:pt idx="0">
                  <c:v>245.40479999999999</c:v>
                </c:pt>
                <c:pt idx="3">
                  <c:v>309.59649999999999</c:v>
                </c:pt>
                <c:pt idx="4">
                  <c:v>215.5322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K$2:$K$8</c:f>
              <c:numCache>
                <c:formatCode>General</c:formatCode>
                <c:ptCount val="7"/>
                <c:pt idx="0">
                  <c:v>234.66229999999999</c:v>
                </c:pt>
                <c:pt idx="2">
                  <c:v>592.23889999999994</c:v>
                </c:pt>
                <c:pt idx="5">
                  <c:v>577.73850000000004</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Vichy</c:v>
                </c:pt>
                <c:pt idx="1">
                  <c:v>Neutrogena</c:v>
                </c:pt>
                <c:pt idx="2">
                  <c:v>Photoderm</c:v>
                </c:pt>
                <c:pt idx="3">
                  <c:v>L'Oreal: All Others</c:v>
                </c:pt>
                <c:pt idx="4">
                  <c:v>Others Marca Unif.</c:v>
                </c:pt>
              </c:strCache>
            </c:strRef>
          </c:cat>
          <c:val>
            <c:numRef>
              <c:f>Sheet1!$B$2:$B$6</c:f>
              <c:numCache>
                <c:formatCode>General</c:formatCode>
                <c:ptCount val="5"/>
                <c:pt idx="4">
                  <c:v>170.6716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18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Photoderm</c:v>
                </c:pt>
                <c:pt idx="3">
                  <c:v>L'Oreal: All Others</c:v>
                </c:pt>
                <c:pt idx="4">
                  <c:v>Others Marca Unif.</c:v>
                </c:pt>
              </c:strCache>
            </c:strRef>
          </c:cat>
          <c:val>
            <c:numRef>
              <c:f>Sheet1!$C$2:$C$6</c:f>
              <c:numCache>
                <c:formatCode>General</c:formatCode>
                <c:ptCount val="5"/>
                <c:pt idx="0">
                  <c:v>654.6589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21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Photoderm</c:v>
                </c:pt>
                <c:pt idx="3">
                  <c:v>L'Oreal: All Others</c:v>
                </c:pt>
                <c:pt idx="4">
                  <c:v>Others Marca Unif.</c:v>
                </c:pt>
              </c:strCache>
            </c:strRef>
          </c:cat>
          <c:val>
            <c:numRef>
              <c:f>Sheet1!$D$2:$D$6</c:f>
              <c:numCache>
                <c:formatCode>General</c:formatCode>
                <c:ptCount val="5"/>
                <c:pt idx="0">
                  <c:v>697.4831000000000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Photoderm</c:v>
                </c:pt>
                <c:pt idx="3">
                  <c:v>L'Oreal: All Others</c:v>
                </c:pt>
                <c:pt idx="4">
                  <c:v>Others Marca Unif.</c:v>
                </c:pt>
              </c:strCache>
            </c:strRef>
          </c:cat>
          <c:val>
            <c:numRef>
              <c:f>Sheet1!$E$2:$E$6</c:f>
              <c:numCache>
                <c:formatCode>General</c:formatCode>
                <c:ptCount val="5"/>
                <c:pt idx="0">
                  <c:v>513.83429999999998</c:v>
                </c:pt>
                <c:pt idx="1">
                  <c:v>151.001</c:v>
                </c:pt>
                <c:pt idx="2">
                  <c:v>362.27780000000001</c:v>
                </c:pt>
                <c:pt idx="3">
                  <c:v>161.1066999999999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B$2:$B$8</c:f>
              <c:numCache>
                <c:formatCode>General</c:formatCode>
                <c:ptCount val="7"/>
                <c:pt idx="0">
                  <c:v>166.52160000000001</c:v>
                </c:pt>
                <c:pt idx="3">
                  <c:v>122.818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C$2:$C$8</c:f>
              <c:numCache>
                <c:formatCode>General</c:formatCode>
                <c:ptCount val="7"/>
                <c:pt idx="0">
                  <c:v>270.7844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D$2:$D$8</c:f>
              <c:numCache>
                <c:formatCode>General</c:formatCode>
                <c:ptCount val="7"/>
                <c:pt idx="0">
                  <c:v>271.18040000000002</c:v>
                </c:pt>
                <c:pt idx="2">
                  <c:v>316.8095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2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E$2:$E$8</c:f>
              <c:numCache>
                <c:formatCode>General</c:formatCode>
                <c:ptCount val="7"/>
                <c:pt idx="1">
                  <c:v>280.035900000000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F$2:$F$8</c:f>
              <c:numCache>
                <c:formatCode>General</c:formatCode>
                <c:ptCount val="7"/>
                <c:pt idx="1">
                  <c:v>262.451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G$2:$G$8</c:f>
              <c:numCache>
                <c:formatCode>General</c:formatCode>
                <c:ptCount val="7"/>
                <c:pt idx="0">
                  <c:v>247.24209999999999</c:v>
                </c:pt>
                <c:pt idx="2">
                  <c:v>309.9196</c:v>
                </c:pt>
                <c:pt idx="5">
                  <c:v>209.844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H$2:$H$8</c:f>
              <c:numCache>
                <c:formatCode>General</c:formatCode>
                <c:ptCount val="7"/>
                <c:pt idx="0">
                  <c:v>234.9486</c:v>
                </c:pt>
                <c:pt idx="4">
                  <c:v>615.47239999999999</c:v>
                </c:pt>
                <c:pt idx="6">
                  <c:v>552.533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L'Oreal: All Others</c:v>
                </c:pt>
                <c:pt idx="1">
                  <c:v>La Roche-Posay</c:v>
                </c:pt>
                <c:pt idx="2">
                  <c:v>Neutrogena</c:v>
                </c:pt>
                <c:pt idx="3">
                  <c:v>Vichy</c:v>
                </c:pt>
                <c:pt idx="4">
                  <c:v>Nivea</c:v>
                </c:pt>
                <c:pt idx="5">
                  <c:v>Photoderm</c:v>
                </c:pt>
                <c:pt idx="6">
                  <c:v>Others Marca Unif.</c:v>
                </c:pt>
              </c:strCache>
            </c:strRef>
          </c:cat>
          <c:val>
            <c:numRef>
              <c:f>Sheet1!$B$2:$B$8</c:f>
              <c:numCache>
                <c:formatCode>General</c:formatCode>
                <c:ptCount val="7"/>
                <c:pt idx="6">
                  <c:v>174.2031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06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L'Oreal: All Others</c:v>
                </c:pt>
                <c:pt idx="1">
                  <c:v>La Roche-Posay</c:v>
                </c:pt>
                <c:pt idx="2">
                  <c:v>Neutrogena</c:v>
                </c:pt>
                <c:pt idx="3">
                  <c:v>Vichy</c:v>
                </c:pt>
                <c:pt idx="4">
                  <c:v>Nivea</c:v>
                </c:pt>
                <c:pt idx="5">
                  <c:v>Photoderm</c:v>
                </c:pt>
                <c:pt idx="6">
                  <c:v>Others Marca Unif.</c:v>
                </c:pt>
              </c:strCache>
            </c:strRef>
          </c:cat>
          <c:val>
            <c:numRef>
              <c:f>Sheet1!$C$2:$C$8</c:f>
              <c:numCache>
                <c:formatCode>General</c:formatCode>
                <c:ptCount val="7"/>
                <c:pt idx="3">
                  <c:v>825.6666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L'Oreal: All Others</c:v>
                </c:pt>
                <c:pt idx="1">
                  <c:v>La Roche-Posay</c:v>
                </c:pt>
                <c:pt idx="2">
                  <c:v>Neutrogena</c:v>
                </c:pt>
                <c:pt idx="3">
                  <c:v>Vichy</c:v>
                </c:pt>
                <c:pt idx="4">
                  <c:v>Nivea</c:v>
                </c:pt>
                <c:pt idx="5">
                  <c:v>Photoderm</c:v>
                </c:pt>
                <c:pt idx="6">
                  <c:v>Others Marca Unif.</c:v>
                </c:pt>
              </c:strCache>
            </c:strRef>
          </c:cat>
          <c:val>
            <c:numRef>
              <c:f>Sheet1!$D$2:$D$8</c:f>
              <c:numCache>
                <c:formatCode>General</c:formatCode>
                <c:ptCount val="7"/>
                <c:pt idx="4">
                  <c:v>480.0312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L'Oreal: All Others</c:v>
                </c:pt>
                <c:pt idx="1">
                  <c:v>La Roche-Posay</c:v>
                </c:pt>
                <c:pt idx="2">
                  <c:v>Neutrogena</c:v>
                </c:pt>
                <c:pt idx="3">
                  <c:v>Vichy</c:v>
                </c:pt>
                <c:pt idx="4">
                  <c:v>Nivea</c:v>
                </c:pt>
                <c:pt idx="5">
                  <c:v>Photoderm</c:v>
                </c:pt>
                <c:pt idx="6">
                  <c:v>Others Marca Unif.</c:v>
                </c:pt>
              </c:strCache>
            </c:strRef>
          </c:cat>
          <c:val>
            <c:numRef>
              <c:f>Sheet1!$E$2:$E$8</c:f>
              <c:numCache>
                <c:formatCode>General</c:formatCode>
                <c:ptCount val="7"/>
                <c:pt idx="0">
                  <c:v>161.15360000000001</c:v>
                </c:pt>
                <c:pt idx="2">
                  <c:v>149.61779999999999</c:v>
                </c:pt>
                <c:pt idx="3">
                  <c:v>633</c:v>
                </c:pt>
                <c:pt idx="5">
                  <c:v>514.4400000000000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L'Oreal: All Others</c:v>
                </c:pt>
                <c:pt idx="1">
                  <c:v>La Roche-Posay</c:v>
                </c:pt>
                <c:pt idx="2">
                  <c:v>Neutrogena</c:v>
                </c:pt>
                <c:pt idx="3">
                  <c:v>Vichy</c:v>
                </c:pt>
                <c:pt idx="4">
                  <c:v>Nivea</c:v>
                </c:pt>
                <c:pt idx="5">
                  <c:v>Photoderm</c:v>
                </c:pt>
                <c:pt idx="6">
                  <c:v>Others Marca Unif.</c:v>
                </c:pt>
              </c:strCache>
            </c:strRef>
          </c:cat>
          <c:val>
            <c:numRef>
              <c:f>Sheet1!$F$2:$F$8</c:f>
              <c:numCache>
                <c:formatCode>General</c:formatCode>
                <c:ptCount val="7"/>
                <c:pt idx="1">
                  <c:v>717.68290000000002</c:v>
                </c:pt>
                <c:pt idx="3">
                  <c:v>457.0769000000000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B$2:$B$8</c:f>
              <c:numCache>
                <c:formatCode>General</c:formatCode>
                <c:ptCount val="7"/>
                <c:pt idx="1">
                  <c:v>182.78800000000001</c:v>
                </c:pt>
                <c:pt idx="3">
                  <c:v>224.51769999999999</c:v>
                </c:pt>
                <c:pt idx="6">
                  <c:v>74.4069999999999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C$2:$C$8</c:f>
              <c:numCache>
                <c:formatCode>General</c:formatCode>
                <c:ptCount val="7"/>
                <c:pt idx="0">
                  <c:v>175.6563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D$2:$D$8</c:f>
              <c:numCache>
                <c:formatCode>General</c:formatCode>
                <c:ptCount val="7"/>
                <c:pt idx="1">
                  <c:v>268.102700000000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E$2:$E$8</c:f>
              <c:numCache>
                <c:formatCode>General</c:formatCode>
                <c:ptCount val="7"/>
                <c:pt idx="0">
                  <c:v>262.19979999999998</c:v>
                </c:pt>
                <c:pt idx="3">
                  <c:v>304.4295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2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F$2:$F$8</c:f>
              <c:numCache>
                <c:formatCode>General</c:formatCode>
                <c:ptCount val="7"/>
                <c:pt idx="1">
                  <c:v>270.042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G$2:$G$8</c:f>
              <c:numCache>
                <c:formatCode>General</c:formatCode>
                <c:ptCount val="7"/>
                <c:pt idx="1">
                  <c:v>259.033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H$2:$H$8</c:f>
              <c:numCache>
                <c:formatCode>General</c:formatCode>
                <c:ptCount val="7"/>
                <c:pt idx="2">
                  <c:v>598.0945000000000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I$2:$I$8</c:f>
              <c:numCache>
                <c:formatCode>General</c:formatCode>
                <c:ptCount val="7"/>
                <c:pt idx="0">
                  <c:v>245.85820000000001</c:v>
                </c:pt>
                <c:pt idx="3">
                  <c:v>306.64359999999999</c:v>
                </c:pt>
                <c:pt idx="4">
                  <c:v>210.883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J$2:$J$8</c:f>
              <c:numCache>
                <c:formatCode>General</c:formatCode>
                <c:ptCount val="7"/>
                <c:pt idx="0">
                  <c:v>231.72989999999999</c:v>
                </c:pt>
                <c:pt idx="2">
                  <c:v>582.56690000000003</c:v>
                </c:pt>
                <c:pt idx="5">
                  <c:v>567.0484000000000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90ML</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K$2:$K$8</c:f>
              <c:numCache>
                <c:formatCode>General</c:formatCode>
                <c:ptCount val="7"/>
                <c:pt idx="1">
                  <c:v>96.260800000000003</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Photoderm</c:v>
                </c:pt>
              </c:strCache>
            </c:strRef>
          </c:cat>
          <c:val>
            <c:numRef>
              <c:f>Sheet1!$B$2:$B$3</c:f>
              <c:numCache>
                <c:formatCode>General</c:formatCode>
                <c:ptCount val="2"/>
                <c:pt idx="0">
                  <c:v>50.454500000000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Photoderm</c:v>
                </c:pt>
              </c:strCache>
            </c:strRef>
          </c:cat>
          <c:val>
            <c:numRef>
              <c:f>Sheet1!$C$2:$C$3</c:f>
              <c:numCache>
                <c:formatCode>General</c:formatCode>
                <c:ptCount val="2"/>
                <c:pt idx="0">
                  <c:v>108.531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cat>
            <c:strRef>
              <c:f>Sheet1!$A$2:$A$3</c:f>
              <c:strCache>
                <c:ptCount val="2"/>
                <c:pt idx="0">
                  <c:v>Others Marca Unif.</c:v>
                </c:pt>
                <c:pt idx="1">
                  <c:v>Photoderm</c:v>
                </c:pt>
              </c:strCache>
            </c:strRef>
          </c:cat>
          <c:val>
            <c:numRef>
              <c:f>Sheet1!$D$2:$D$3</c:f>
              <c:numCache>
                <c:formatCode>General</c:formatCode>
                <c:ptCount val="2"/>
                <c:pt idx="0">
                  <c:v>35.321399999999997</c:v>
                </c:pt>
                <c:pt idx="1">
                  <c:v>336.3607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Others Marca Unif.</c:v>
                </c:pt>
                <c:pt idx="2">
                  <c:v>Nuvel</c:v>
                </c:pt>
              </c:strCache>
            </c:strRef>
          </c:cat>
          <c:val>
            <c:numRef>
              <c:f>Sheet1!$B$2:$B$4</c:f>
              <c:numCache>
                <c:formatCode>General</c:formatCode>
                <c:ptCount val="3"/>
                <c:pt idx="2">
                  <c:v>74.2018999999999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C$2:$C$4</c:f>
              <c:numCache>
                <c:formatCode>General</c:formatCode>
                <c:ptCount val="3"/>
                <c:pt idx="0">
                  <c:v>162.62860000000001</c:v>
                </c:pt>
                <c:pt idx="1">
                  <c:v>135.64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D$2:$D$4</c:f>
              <c:numCache>
                <c:formatCode>General</c:formatCode>
                <c:ptCount val="3"/>
                <c:pt idx="0">
                  <c:v>253.575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E$2:$E$4</c:f>
              <c:numCache>
                <c:formatCode>General</c:formatCode>
                <c:ptCount val="3"/>
                <c:pt idx="1">
                  <c:v>185.48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F$2:$F$4</c:f>
              <c:numCache>
                <c:formatCode>General</c:formatCode>
                <c:ptCount val="3"/>
                <c:pt idx="0">
                  <c:v>261.27940000000001</c:v>
                </c:pt>
                <c:pt idx="1">
                  <c:v>98.55070000000000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878CEB-6A96-4D68-A480-E97F478BD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0244D30-78F2-4819-96D0-D0C11CF3E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9B389E-64BA-4D3E-B891-A0A549A4A2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947B08-816A-4313-8188-4F8A0F2D0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BD4260-6A4E-481C-AA74-3FA6A050B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AB0B338-1D7D-4CA8-B904-7C02AB7DE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40A92AD-5008-47FC-920E-BE044ACB2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052F854-82F1-446D-BE06-9955B4ADB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5.00290000000001</c:v>
                </c:pt>
                <c:pt idx="1">
                  <c:v>245.23140000000001</c:v>
                </c:pt>
                <c:pt idx="2">
                  <c:v>217.64420000000001</c:v>
                </c:pt>
                <c:pt idx="3">
                  <c:v>137.20750000000001</c:v>
                </c:pt>
                <c:pt idx="4">
                  <c:v>329.11489999999998</c:v>
                </c:pt>
              </c:numCache>
            </c:numRef>
          </c:xVal>
          <c:yVal>
            <c:numRef>
              <c:f>Sheet1!$B$2:$B$6</c:f>
              <c:numCache>
                <c:formatCode>General</c:formatCode>
                <c:ptCount val="5"/>
                <c:pt idx="0">
                  <c:v>1.0780000000000001</c:v>
                </c:pt>
                <c:pt idx="1">
                  <c:v>1.145</c:v>
                </c:pt>
                <c:pt idx="2">
                  <c:v>0.85899999999999999</c:v>
                </c:pt>
                <c:pt idx="3">
                  <c:v>0.86499999999999999</c:v>
                </c:pt>
                <c:pt idx="4">
                  <c:v>1.3049999999999999</c:v>
                </c:pt>
              </c:numCache>
            </c:numRef>
          </c:yVal>
          <c:bubbleSize>
            <c:numRef>
              <c:f>Sheet1!$C$2:$C$6</c:f>
              <c:numCache>
                <c:formatCode>General</c:formatCode>
                <c:ptCount val="5"/>
                <c:pt idx="0">
                  <c:v>2267399</c:v>
                </c:pt>
                <c:pt idx="1">
                  <c:v>1015258</c:v>
                </c:pt>
                <c:pt idx="2">
                  <c:v>577410</c:v>
                </c:pt>
                <c:pt idx="3">
                  <c:v>234076</c:v>
                </c:pt>
                <c:pt idx="4">
                  <c:v>77342</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Cerapil</c:v>
                  </c:pt>
                  <c:pt idx="4">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95"/>
          <c:min val="1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B$2:$B$8</c:f>
              <c:numCache>
                <c:formatCode>General</c:formatCode>
                <c:ptCount val="7"/>
                <c:pt idx="1">
                  <c:v>185.38120000000001</c:v>
                </c:pt>
                <c:pt idx="2">
                  <c:v>227.1893</c:v>
                </c:pt>
                <c:pt idx="6">
                  <c:v>74.7262999999999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C$2:$C$8</c:f>
              <c:numCache>
                <c:formatCode>General</c:formatCode>
                <c:ptCount val="7"/>
                <c:pt idx="0">
                  <c:v>176.8284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D$2:$D$8</c:f>
              <c:numCache>
                <c:formatCode>General</c:formatCode>
                <c:ptCount val="7"/>
                <c:pt idx="1">
                  <c:v>261.8464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E$2:$E$8</c:f>
              <c:numCache>
                <c:formatCode>General</c:formatCode>
                <c:ptCount val="7"/>
                <c:pt idx="0">
                  <c:v>260.1223</c:v>
                </c:pt>
                <c:pt idx="2">
                  <c:v>302.36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F$2:$F$8</c:f>
              <c:numCache>
                <c:formatCode>General</c:formatCode>
                <c:ptCount val="7"/>
                <c:pt idx="1">
                  <c:v>260.5285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G$2:$G$8</c:f>
              <c:numCache>
                <c:formatCode>General</c:formatCode>
                <c:ptCount val="7"/>
                <c:pt idx="3">
                  <c:v>597.4302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H$2:$H$8</c:f>
              <c:numCache>
                <c:formatCode>General</c:formatCode>
                <c:ptCount val="7"/>
                <c:pt idx="0">
                  <c:v>246.47489999999999</c:v>
                </c:pt>
                <c:pt idx="2">
                  <c:v>304.11840000000001</c:v>
                </c:pt>
                <c:pt idx="4">
                  <c:v>208.1791000000000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I$2:$I$8</c:f>
              <c:numCache>
                <c:formatCode>General</c:formatCode>
                <c:ptCount val="7"/>
                <c:pt idx="0">
                  <c:v>229.9332</c:v>
                </c:pt>
                <c:pt idx="3">
                  <c:v>605.57190000000003</c:v>
                </c:pt>
                <c:pt idx="5">
                  <c:v>598.0605000000000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9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Oreal: All Others</c:v>
                </c:pt>
                <c:pt idx="5">
                  <c:v>La Roche-Posay</c:v>
                </c:pt>
                <c:pt idx="6">
                  <c:v>Nuvel</c:v>
                </c:pt>
              </c:strCache>
            </c:strRef>
          </c:cat>
          <c:val>
            <c:numRef>
              <c:f>Sheet1!$J$2:$J$8</c:f>
              <c:numCache>
                <c:formatCode>General</c:formatCode>
                <c:ptCount val="7"/>
                <c:pt idx="1">
                  <c:v>96.279700000000005</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Photoderm</c:v>
                </c:pt>
              </c:strCache>
            </c:strRef>
          </c:cat>
          <c:val>
            <c:numRef>
              <c:f>Sheet1!$B$2:$B$3</c:f>
              <c:numCache>
                <c:formatCode>General</c:formatCode>
                <c:ptCount val="2"/>
                <c:pt idx="0">
                  <c:v>31.114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Photoderm</c:v>
                </c:pt>
              </c:strCache>
            </c:strRef>
          </c:cat>
          <c:val>
            <c:numRef>
              <c:f>Sheet1!$C$2:$C$3</c:f>
              <c:numCache>
                <c:formatCode>General</c:formatCode>
                <c:ptCount val="2"/>
                <c:pt idx="0">
                  <c:v>105.99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cat>
            <c:strRef>
              <c:f>Sheet1!$A$2:$A$3</c:f>
              <c:strCache>
                <c:ptCount val="2"/>
                <c:pt idx="0">
                  <c:v>Others Marca Unif.</c:v>
                </c:pt>
                <c:pt idx="1">
                  <c:v>Photoderm</c:v>
                </c:pt>
              </c:strCache>
            </c:strRef>
          </c:cat>
          <c:val>
            <c:numRef>
              <c:f>Sheet1!$D$2:$D$3</c:f>
              <c:numCache>
                <c:formatCode>General</c:formatCode>
                <c:ptCount val="2"/>
                <c:pt idx="0">
                  <c:v>31.069500000000001</c:v>
                </c:pt>
                <c:pt idx="1">
                  <c:v>852.3420999999999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Nuvel</c:v>
                </c:pt>
                <c:pt idx="2">
                  <c:v>Others Marca Unif.</c:v>
                </c:pt>
              </c:strCache>
            </c:strRef>
          </c:cat>
          <c:val>
            <c:numRef>
              <c:f>Sheet1!$B$2:$B$4</c:f>
              <c:numCache>
                <c:formatCode>General</c:formatCode>
                <c:ptCount val="3"/>
                <c:pt idx="1">
                  <c:v>74.660899999999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Nuvel</c:v>
                </c:pt>
                <c:pt idx="2">
                  <c:v>Others Marca Unif.</c:v>
                </c:pt>
              </c:strCache>
            </c:strRef>
          </c:cat>
          <c:val>
            <c:numRef>
              <c:f>Sheet1!$C$2:$C$4</c:f>
              <c:numCache>
                <c:formatCode>General</c:formatCode>
                <c:ptCount val="3"/>
                <c:pt idx="2">
                  <c:v>132.1664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Nuvel</c:v>
                </c:pt>
                <c:pt idx="2">
                  <c:v>Others Marca Unif.</c:v>
                </c:pt>
              </c:strCache>
            </c:strRef>
          </c:cat>
          <c:val>
            <c:numRef>
              <c:f>Sheet1!$D$2:$D$4</c:f>
              <c:numCache>
                <c:formatCode>General</c:formatCode>
                <c:ptCount val="3"/>
                <c:pt idx="0">
                  <c:v>258.364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Nuvel</c:v>
                </c:pt>
                <c:pt idx="2">
                  <c:v>Others Marca Unif.</c:v>
                </c:pt>
              </c:strCache>
            </c:strRef>
          </c:cat>
          <c:val>
            <c:numRef>
              <c:f>Sheet1!$E$2:$E$4</c:f>
              <c:numCache>
                <c:formatCode>General</c:formatCode>
                <c:ptCount val="3"/>
                <c:pt idx="0">
                  <c:v>261.65769999999998</c:v>
                </c:pt>
                <c:pt idx="2">
                  <c:v>99.63899999999999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L'Oreal: All Others</c:v>
                </c:pt>
                <c:pt idx="6">
                  <c:v>Photoderm</c:v>
                </c:pt>
              </c:strCache>
            </c:strRef>
          </c:cat>
          <c:val>
            <c:numRef>
              <c:f>Sheet1!$B$2:$B$8</c:f>
              <c:numCache>
                <c:formatCode>General</c:formatCode>
                <c:ptCount val="7"/>
                <c:pt idx="0">
                  <c:v>175.4747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L'Oreal: All Others</c:v>
                </c:pt>
                <c:pt idx="6">
                  <c:v>Photoderm</c:v>
                </c:pt>
              </c:strCache>
            </c:strRef>
          </c:cat>
          <c:val>
            <c:numRef>
              <c:f>Sheet1!$C$2:$C$8</c:f>
              <c:numCache>
                <c:formatCode>General</c:formatCode>
                <c:ptCount val="7"/>
                <c:pt idx="2">
                  <c:v>256.496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L'Oreal: All Others</c:v>
                </c:pt>
                <c:pt idx="6">
                  <c:v>Photoderm</c:v>
                </c:pt>
              </c:strCache>
            </c:strRef>
          </c:cat>
          <c:val>
            <c:numRef>
              <c:f>Sheet1!$D$2:$D$8</c:f>
              <c:numCache>
                <c:formatCode>General</c:formatCode>
                <c:ptCount val="7"/>
                <c:pt idx="0">
                  <c:v>261.31760000000003</c:v>
                </c:pt>
                <c:pt idx="4">
                  <c:v>311.4334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L'Oreal: All Others</c:v>
                </c:pt>
                <c:pt idx="6">
                  <c:v>Photoderm</c:v>
                </c:pt>
              </c:strCache>
            </c:strRef>
          </c:cat>
          <c:val>
            <c:numRef>
              <c:f>Sheet1!$E$2:$E$8</c:f>
              <c:numCache>
                <c:formatCode>General</c:formatCode>
                <c:ptCount val="7"/>
                <c:pt idx="2">
                  <c:v>255.3666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L'Oreal: All Others</c:v>
                </c:pt>
                <c:pt idx="6">
                  <c:v>Photoderm</c:v>
                </c:pt>
              </c:strCache>
            </c:strRef>
          </c:cat>
          <c:val>
            <c:numRef>
              <c:f>Sheet1!$F$2:$F$8</c:f>
              <c:numCache>
                <c:formatCode>General</c:formatCode>
                <c:ptCount val="7"/>
                <c:pt idx="1">
                  <c:v>581.5062000000000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L'Oreal: All Others</c:v>
                </c:pt>
                <c:pt idx="6">
                  <c:v>Photoderm</c:v>
                </c:pt>
              </c:strCache>
            </c:strRef>
          </c:cat>
          <c:val>
            <c:numRef>
              <c:f>Sheet1!$G$2:$G$8</c:f>
              <c:numCache>
                <c:formatCode>General</c:formatCode>
                <c:ptCount val="7"/>
                <c:pt idx="0">
                  <c:v>242.1233</c:v>
                </c:pt>
                <c:pt idx="4">
                  <c:v>306.8261</c:v>
                </c:pt>
                <c:pt idx="5">
                  <c:v>211.19980000000001</c:v>
                </c:pt>
                <c:pt idx="6">
                  <c:v>480.4252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L'Oreal: All Others</c:v>
                </c:pt>
                <c:pt idx="6">
                  <c:v>Photoderm</c:v>
                </c:pt>
              </c:strCache>
            </c:strRef>
          </c:cat>
          <c:val>
            <c:numRef>
              <c:f>Sheet1!$H$2:$H$8</c:f>
              <c:numCache>
                <c:formatCode>General</c:formatCode>
                <c:ptCount val="7"/>
                <c:pt idx="0">
                  <c:v>234.99590000000001</c:v>
                </c:pt>
                <c:pt idx="1">
                  <c:v>554.04380000000003</c:v>
                </c:pt>
                <c:pt idx="3">
                  <c:v>551.641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Photoderm</c:v>
                </c:pt>
              </c:strCache>
            </c:strRef>
          </c:cat>
          <c:val>
            <c:numRef>
              <c:f>Sheet1!$B$2:$B$3</c:f>
              <c:numCache>
                <c:formatCode>General</c:formatCode>
                <c:ptCount val="2"/>
                <c:pt idx="0">
                  <c:v>98.0092000000000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Photoderm</c:v>
                </c:pt>
              </c:strCache>
            </c:strRef>
          </c:cat>
          <c:val>
            <c:numRef>
              <c:f>Sheet1!$C$2:$C$3</c:f>
              <c:numCache>
                <c:formatCode>General</c:formatCode>
                <c:ptCount val="2"/>
                <c:pt idx="0">
                  <c:v>109.726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cat>
            <c:strRef>
              <c:f>Sheet1!$A$2:$A$3</c:f>
              <c:strCache>
                <c:ptCount val="2"/>
                <c:pt idx="0">
                  <c:v>Others Marca Unif.</c:v>
                </c:pt>
                <c:pt idx="1">
                  <c:v>Photoderm</c:v>
                </c:pt>
              </c:strCache>
            </c:strRef>
          </c:cat>
          <c:val>
            <c:numRef>
              <c:f>Sheet1!$D$2:$D$3</c:f>
              <c:numCache>
                <c:formatCode>General</c:formatCode>
                <c:ptCount val="2"/>
                <c:pt idx="1">
                  <c:v>248.827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Others Marca Unif.</c:v>
                </c:pt>
                <c:pt idx="2">
                  <c:v>Nuvel</c:v>
                </c:pt>
                <c:pt idx="3">
                  <c:v>La Roche-Posay</c:v>
                </c:pt>
                <c:pt idx="4">
                  <c:v>Eucerin</c:v>
                </c:pt>
                <c:pt idx="5">
                  <c:v>Vichy</c:v>
                </c:pt>
                <c:pt idx="6">
                  <c:v>Cetaphil</c:v>
                </c:pt>
              </c:strCache>
            </c:strRef>
          </c:cat>
          <c:val>
            <c:numRef>
              <c:f>Sheet1!$B$2:$B$8</c:f>
              <c:numCache>
                <c:formatCode>General</c:formatCode>
                <c:ptCount val="7"/>
                <c:pt idx="2">
                  <c:v>74.0952999999999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Others Marca Unif.</c:v>
                </c:pt>
                <c:pt idx="2">
                  <c:v>Nuvel</c:v>
                </c:pt>
                <c:pt idx="3">
                  <c:v>La Roche-Posay</c:v>
                </c:pt>
                <c:pt idx="4">
                  <c:v>Eucerin</c:v>
                </c:pt>
                <c:pt idx="5">
                  <c:v>Vichy</c:v>
                </c:pt>
                <c:pt idx="6">
                  <c:v>Cetaphil</c:v>
                </c:pt>
              </c:strCache>
            </c:strRef>
          </c:cat>
          <c:val>
            <c:numRef>
              <c:f>Sheet1!$C$2:$C$8</c:f>
              <c:numCache>
                <c:formatCode>General</c:formatCode>
                <c:ptCount val="7"/>
                <c:pt idx="1">
                  <c:v>137.723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Others Marca Unif.</c:v>
                </c:pt>
                <c:pt idx="2">
                  <c:v>Nuvel</c:v>
                </c:pt>
                <c:pt idx="3">
                  <c:v>La Roche-Posay</c:v>
                </c:pt>
                <c:pt idx="4">
                  <c:v>Eucerin</c:v>
                </c:pt>
                <c:pt idx="5">
                  <c:v>Vichy</c:v>
                </c:pt>
                <c:pt idx="6">
                  <c:v>Cetaphil</c:v>
                </c:pt>
              </c:strCache>
            </c:strRef>
          </c:cat>
          <c:val>
            <c:numRef>
              <c:f>Sheet1!$D$2:$D$8</c:f>
              <c:numCache>
                <c:formatCode>General</c:formatCode>
                <c:ptCount val="7"/>
                <c:pt idx="0">
                  <c:v>257.78129999999999</c:v>
                </c:pt>
                <c:pt idx="6">
                  <c:v>504.725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Others Marca Unif.</c:v>
                </c:pt>
                <c:pt idx="2">
                  <c:v>Nuvel</c:v>
                </c:pt>
                <c:pt idx="3">
                  <c:v>La Roche-Posay</c:v>
                </c:pt>
                <c:pt idx="4">
                  <c:v>Eucerin</c:v>
                </c:pt>
                <c:pt idx="5">
                  <c:v>Vichy</c:v>
                </c:pt>
                <c:pt idx="6">
                  <c:v>Cetaphil</c:v>
                </c:pt>
              </c:strCache>
            </c:strRef>
          </c:cat>
          <c:val>
            <c:numRef>
              <c:f>Sheet1!$E$2:$E$8</c:f>
              <c:numCache>
                <c:formatCode>General</c:formatCode>
                <c:ptCount val="7"/>
                <c:pt idx="0">
                  <c:v>263.25700000000001</c:v>
                </c:pt>
                <c:pt idx="1">
                  <c:v>106.4692</c:v>
                </c:pt>
                <c:pt idx="3">
                  <c:v>649.3021</c:v>
                </c:pt>
                <c:pt idx="4">
                  <c:v>558.3298999999999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Others Marca Unif.</c:v>
                </c:pt>
                <c:pt idx="2">
                  <c:v>Nuvel</c:v>
                </c:pt>
                <c:pt idx="3">
                  <c:v>La Roche-Posay</c:v>
                </c:pt>
                <c:pt idx="4">
                  <c:v>Eucerin</c:v>
                </c:pt>
                <c:pt idx="5">
                  <c:v>Vichy</c:v>
                </c:pt>
                <c:pt idx="6">
                  <c:v>Cetaphil</c:v>
                </c:pt>
              </c:strCache>
            </c:strRef>
          </c:cat>
          <c:val>
            <c:numRef>
              <c:f>Sheet1!$F$2:$F$8</c:f>
              <c:numCache>
                <c:formatCode>General</c:formatCode>
                <c:ptCount val="7"/>
                <c:pt idx="3">
                  <c:v>762.9873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Others Marca Unif.</c:v>
                </c:pt>
                <c:pt idx="2">
                  <c:v>Nuvel</c:v>
                </c:pt>
                <c:pt idx="3">
                  <c:v>La Roche-Posay</c:v>
                </c:pt>
                <c:pt idx="4">
                  <c:v>Eucerin</c:v>
                </c:pt>
                <c:pt idx="5">
                  <c:v>Vichy</c:v>
                </c:pt>
                <c:pt idx="6">
                  <c:v>Cetaphil</c:v>
                </c:pt>
              </c:strCache>
            </c:strRef>
          </c:cat>
          <c:val>
            <c:numRef>
              <c:f>Sheet1!$G$2:$G$8</c:f>
              <c:numCache>
                <c:formatCode>General</c:formatCode>
                <c:ptCount val="7"/>
                <c:pt idx="5">
                  <c:v>602.0294999999999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vea</c:v>
                </c:pt>
                <c:pt idx="1">
                  <c:v>Neutrogena</c:v>
                </c:pt>
                <c:pt idx="2">
                  <c:v>L'Oreal: All Others</c:v>
                </c:pt>
                <c:pt idx="3">
                  <c:v>Inds.Lavin De Mexico: All Others</c:v>
                </c:pt>
                <c:pt idx="4">
                  <c:v>Nuvel</c:v>
                </c:pt>
              </c:strCache>
            </c:strRef>
          </c:cat>
          <c:val>
            <c:numRef>
              <c:f>Sheet1!$B$2:$B$6</c:f>
              <c:numCache>
                <c:formatCode>General</c:formatCode>
                <c:ptCount val="5"/>
                <c:pt idx="1">
                  <c:v>223.2473</c:v>
                </c:pt>
                <c:pt idx="4">
                  <c:v>73.9625999999999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Neutrogena</c:v>
                </c:pt>
                <c:pt idx="2">
                  <c:v>L'Oreal: All Others</c:v>
                </c:pt>
                <c:pt idx="3">
                  <c:v>Inds.Lavin De Mexico: All Others</c:v>
                </c:pt>
                <c:pt idx="4">
                  <c:v>Nuvel</c:v>
                </c:pt>
              </c:strCache>
            </c:strRef>
          </c:cat>
          <c:val>
            <c:numRef>
              <c:f>Sheet1!$C$2:$C$6</c:f>
              <c:numCache>
                <c:formatCode>General</c:formatCode>
                <c:ptCount val="5"/>
                <c:pt idx="0">
                  <c:v>180.3403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Neutrogena</c:v>
                </c:pt>
                <c:pt idx="2">
                  <c:v>L'Oreal: All Others</c:v>
                </c:pt>
                <c:pt idx="3">
                  <c:v>Inds.Lavin De Mexico: All Others</c:v>
                </c:pt>
                <c:pt idx="4">
                  <c:v>Nuvel</c:v>
                </c:pt>
              </c:strCache>
            </c:strRef>
          </c:cat>
          <c:val>
            <c:numRef>
              <c:f>Sheet1!$D$2:$D$6</c:f>
              <c:numCache>
                <c:formatCode>General</c:formatCode>
                <c:ptCount val="5"/>
                <c:pt idx="3">
                  <c:v>90.8669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Neutrogena</c:v>
                </c:pt>
                <c:pt idx="2">
                  <c:v>L'Oreal: All Others</c:v>
                </c:pt>
                <c:pt idx="3">
                  <c:v>Inds.Lavin De Mexico: All Others</c:v>
                </c:pt>
                <c:pt idx="4">
                  <c:v>Nuvel</c:v>
                </c:pt>
              </c:strCache>
            </c:strRef>
          </c:cat>
          <c:val>
            <c:numRef>
              <c:f>Sheet1!$E$2:$E$6</c:f>
              <c:numCache>
                <c:formatCode>General</c:formatCode>
                <c:ptCount val="5"/>
                <c:pt idx="0">
                  <c:v>258.34140000000002</c:v>
                </c:pt>
                <c:pt idx="1">
                  <c:v>282.8960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Neutrogena</c:v>
                </c:pt>
                <c:pt idx="2">
                  <c:v>L'Oreal: All Others</c:v>
                </c:pt>
                <c:pt idx="3">
                  <c:v>Inds.Lavin De Mexico: All Others</c:v>
                </c:pt>
                <c:pt idx="4">
                  <c:v>Nuvel</c:v>
                </c:pt>
              </c:strCache>
            </c:strRef>
          </c:cat>
          <c:val>
            <c:numRef>
              <c:f>Sheet1!$F$2:$F$6</c:f>
              <c:numCache>
                <c:formatCode>General</c:formatCode>
                <c:ptCount val="5"/>
                <c:pt idx="0">
                  <c:v>249.07130000000001</c:v>
                </c:pt>
                <c:pt idx="1">
                  <c:v>308.70659999999998</c:v>
                </c:pt>
                <c:pt idx="2">
                  <c:v>214.928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vea</c:v>
                </c:pt>
                <c:pt idx="1">
                  <c:v>Neutrogena</c:v>
                </c:pt>
                <c:pt idx="2">
                  <c:v>L'Oreal: All Others</c:v>
                </c:pt>
                <c:pt idx="3">
                  <c:v>Inds.Lavin De Mexico: All Others</c:v>
                </c:pt>
                <c:pt idx="4">
                  <c:v>Nuvel</c:v>
                </c:pt>
              </c:strCache>
            </c:strRef>
          </c:cat>
          <c:val>
            <c:numRef>
              <c:f>Sheet1!$G$2:$G$6</c:f>
              <c:numCache>
                <c:formatCode>General</c:formatCode>
                <c:ptCount val="5"/>
                <c:pt idx="0">
                  <c:v>227.9311999999999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Others Marca Unif.</c:v>
                </c:pt>
                <c:pt idx="2">
                  <c:v>Nuvel</c:v>
                </c:pt>
              </c:strCache>
            </c:strRef>
          </c:cat>
          <c:val>
            <c:numRef>
              <c:f>Sheet1!$B$2:$B$4</c:f>
              <c:numCache>
                <c:formatCode>General</c:formatCode>
                <c:ptCount val="3"/>
                <c:pt idx="2">
                  <c:v>72.9433999999999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C$2:$C$4</c:f>
              <c:numCache>
                <c:formatCode>General</c:formatCode>
                <c:ptCount val="3"/>
                <c:pt idx="0">
                  <c:v>234.55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D$2:$D$4</c:f>
              <c:numCache>
                <c:formatCode>General</c:formatCode>
                <c:ptCount val="3"/>
                <c:pt idx="1">
                  <c:v>186.1108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E$2:$E$4</c:f>
              <c:numCache>
                <c:formatCode>General</c:formatCode>
                <c:ptCount val="3"/>
                <c:pt idx="0">
                  <c:v>251.453</c:v>
                </c:pt>
                <c:pt idx="1">
                  <c:v>85.724599999999995</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B$2:$B$8</c:f>
              <c:numCache>
                <c:formatCode>General</c:formatCode>
                <c:ptCount val="7"/>
                <c:pt idx="3">
                  <c:v>226.3991</c:v>
                </c:pt>
                <c:pt idx="6">
                  <c:v>74.413899999999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C$2:$C$8</c:f>
              <c:numCache>
                <c:formatCode>General</c:formatCode>
                <c:ptCount val="7"/>
                <c:pt idx="0">
                  <c:v>176.848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D$2:$D$8</c:f>
              <c:numCache>
                <c:formatCode>General</c:formatCode>
                <c:ptCount val="7"/>
                <c:pt idx="0">
                  <c:v>260.60289999999998</c:v>
                </c:pt>
                <c:pt idx="3">
                  <c:v>305.2633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E$2:$E$8</c:f>
              <c:numCache>
                <c:formatCode>General</c:formatCode>
                <c:ptCount val="7"/>
                <c:pt idx="1">
                  <c:v>258.103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F$2:$F$8</c:f>
              <c:numCache>
                <c:formatCode>General</c:formatCode>
                <c:ptCount val="7"/>
                <c:pt idx="2">
                  <c:v>607.9483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G$2:$G$8</c:f>
              <c:numCache>
                <c:formatCode>General</c:formatCode>
                <c:ptCount val="7"/>
                <c:pt idx="0">
                  <c:v>245.96190000000001</c:v>
                </c:pt>
                <c:pt idx="3">
                  <c:v>304.52179999999998</c:v>
                </c:pt>
                <c:pt idx="4">
                  <c:v>208.697300000000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H$2:$H$8</c:f>
              <c:numCache>
                <c:formatCode>General</c:formatCode>
                <c:ptCount val="7"/>
                <c:pt idx="0">
                  <c:v>229.56639999999999</c:v>
                </c:pt>
                <c:pt idx="2">
                  <c:v>600.92010000000005</c:v>
                </c:pt>
                <c:pt idx="5">
                  <c:v>587.1597000000000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Photoderm</c:v>
                </c:pt>
              </c:strCache>
            </c:strRef>
          </c:cat>
          <c:val>
            <c:numRef>
              <c:f>Sheet1!$B$2:$B$3</c:f>
              <c:numCache>
                <c:formatCode>General</c:formatCode>
                <c:ptCount val="2"/>
                <c:pt idx="0">
                  <c:v>42.1557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Photoderm</c:v>
                </c:pt>
              </c:strCache>
            </c:strRef>
          </c:cat>
          <c:val>
            <c:numRef>
              <c:f>Sheet1!$C$2:$C$3</c:f>
              <c:numCache>
                <c:formatCode>General</c:formatCode>
                <c:ptCount val="2"/>
                <c:pt idx="0">
                  <c:v>107.31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cat>
            <c:strRef>
              <c:f>Sheet1!$A$2:$A$3</c:f>
              <c:strCache>
                <c:ptCount val="2"/>
                <c:pt idx="0">
                  <c:v>Others Marca Unif.</c:v>
                </c:pt>
                <c:pt idx="1">
                  <c:v>Photoderm</c:v>
                </c:pt>
              </c:strCache>
            </c:strRef>
          </c:cat>
          <c:val>
            <c:numRef>
              <c:f>Sheet1!$D$2:$D$3</c:f>
              <c:numCache>
                <c:formatCode>General</c:formatCode>
                <c:ptCount val="2"/>
                <c:pt idx="0">
                  <c:v>46.649000000000001</c:v>
                </c:pt>
                <c:pt idx="1">
                  <c:v>472.3294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587883-D6DD-4C49-97EC-9EF5AAF2B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F76DF3-E94B-4A5C-95EF-F0794E712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ED09E1-1D9E-4EDD-BF81-245FEC232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1454C2-523C-4BFF-B9BA-02CD2053F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84E6E55-E465-49E0-B7C6-621C11F29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E91AB37-780F-4C5D-876A-B9EF8B8F3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6CE5853-86BB-45D1-B5B8-8E39474DC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7BBEFE7-6953-4348-A353-E4AD1CBAC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71.01689999999999</c:v>
                </c:pt>
                <c:pt idx="1">
                  <c:v>135.572</c:v>
                </c:pt>
                <c:pt idx="2">
                  <c:v>117.3258</c:v>
                </c:pt>
                <c:pt idx="3">
                  <c:v>54.368899999999996</c:v>
                </c:pt>
              </c:numCache>
            </c:numRef>
          </c:xVal>
          <c:yVal>
            <c:numRef>
              <c:f>Sheet1!$B$2:$B$5</c:f>
              <c:numCache>
                <c:formatCode>General</c:formatCode>
                <c:ptCount val="4"/>
                <c:pt idx="0">
                  <c:v>1.3120000000000001</c:v>
                </c:pt>
                <c:pt idx="1">
                  <c:v>0.79</c:v>
                </c:pt>
                <c:pt idx="2">
                  <c:v>1.079</c:v>
                </c:pt>
                <c:pt idx="3">
                  <c:v>0.42099999999999999</c:v>
                </c:pt>
              </c:numCache>
            </c:numRef>
          </c:yVal>
          <c:bubbleSize>
            <c:numRef>
              <c:f>Sheet1!$C$2:$C$5</c:f>
              <c:numCache>
                <c:formatCode>General</c:formatCode>
                <c:ptCount val="4"/>
                <c:pt idx="0">
                  <c:v>1738558</c:v>
                </c:pt>
                <c:pt idx="1">
                  <c:v>1670789</c:v>
                </c:pt>
                <c:pt idx="2">
                  <c:v>903761</c:v>
                </c:pt>
                <c:pt idx="3">
                  <c:v>53499</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5"/>
          <c:min val="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Nuvel</c:v>
                </c:pt>
                <c:pt idx="2">
                  <c:v>Others Marca Unif.</c:v>
                </c:pt>
              </c:strCache>
            </c:strRef>
          </c:cat>
          <c:val>
            <c:numRef>
              <c:f>Sheet1!$B$2:$B$4</c:f>
              <c:numCache>
                <c:formatCode>General</c:formatCode>
                <c:ptCount val="3"/>
                <c:pt idx="1">
                  <c:v>74.5472000000000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Nuvel</c:v>
                </c:pt>
                <c:pt idx="2">
                  <c:v>Others Marca Unif.</c:v>
                </c:pt>
              </c:strCache>
            </c:strRef>
          </c:cat>
          <c:val>
            <c:numRef>
              <c:f>Sheet1!$C$2:$C$4</c:f>
              <c:numCache>
                <c:formatCode>General</c:formatCode>
                <c:ptCount val="3"/>
                <c:pt idx="0">
                  <c:v>157.68719999999999</c:v>
                </c:pt>
                <c:pt idx="2">
                  <c:v>134.7855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Nuvel</c:v>
                </c:pt>
                <c:pt idx="2">
                  <c:v>Others Marca Unif.</c:v>
                </c:pt>
              </c:strCache>
            </c:strRef>
          </c:cat>
          <c:val>
            <c:numRef>
              <c:f>Sheet1!$D$2:$D$4</c:f>
              <c:numCache>
                <c:formatCode>General</c:formatCode>
                <c:ptCount val="3"/>
                <c:pt idx="0">
                  <c:v>254.34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Nuvel</c:v>
                </c:pt>
                <c:pt idx="2">
                  <c:v>Others Marca Unif.</c:v>
                </c:pt>
              </c:strCache>
            </c:strRef>
          </c:cat>
          <c:val>
            <c:numRef>
              <c:f>Sheet1!$E$2:$E$4</c:f>
              <c:numCache>
                <c:formatCode>General</c:formatCode>
                <c:ptCount val="3"/>
                <c:pt idx="0">
                  <c:v>260.02870000000001</c:v>
                </c:pt>
                <c:pt idx="2">
                  <c:v>95.604299999999995</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B$2:$B$8</c:f>
              <c:numCache>
                <c:formatCode>General</c:formatCode>
                <c:ptCount val="7"/>
                <c:pt idx="1">
                  <c:v>182.8186</c:v>
                </c:pt>
                <c:pt idx="6">
                  <c:v>74.84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C$2:$C$8</c:f>
              <c:numCache>
                <c:formatCode>General</c:formatCode>
                <c:ptCount val="7"/>
                <c:pt idx="0">
                  <c:v>177.56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D$2:$D$8</c:f>
              <c:numCache>
                <c:formatCode>General</c:formatCode>
                <c:ptCount val="7"/>
                <c:pt idx="1">
                  <c:v>287.1750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E$2:$E$8</c:f>
              <c:numCache>
                <c:formatCode>General</c:formatCode>
                <c:ptCount val="7"/>
                <c:pt idx="0">
                  <c:v>266.86329999999998</c:v>
                </c:pt>
                <c:pt idx="3">
                  <c:v>312.66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2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F$2:$F$8</c:f>
              <c:numCache>
                <c:formatCode>General</c:formatCode>
                <c:ptCount val="7"/>
                <c:pt idx="1">
                  <c:v>284.7710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G$2:$G$8</c:f>
              <c:numCache>
                <c:formatCode>General</c:formatCode>
                <c:ptCount val="7"/>
                <c:pt idx="1">
                  <c:v>264.6021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H$2:$H$8</c:f>
              <c:numCache>
                <c:formatCode>General</c:formatCode>
                <c:ptCount val="7"/>
                <c:pt idx="2">
                  <c:v>607.8952000000000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I$2:$I$8</c:f>
              <c:numCache>
                <c:formatCode>General</c:formatCode>
                <c:ptCount val="7"/>
                <c:pt idx="0">
                  <c:v>245.40479999999999</c:v>
                </c:pt>
                <c:pt idx="3">
                  <c:v>309.59649999999999</c:v>
                </c:pt>
                <c:pt idx="4">
                  <c:v>215.532299999999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J$2:$J$8</c:f>
              <c:numCache>
                <c:formatCode>General</c:formatCode>
                <c:ptCount val="7"/>
                <c:pt idx="0">
                  <c:v>234.66229999999999</c:v>
                </c:pt>
                <c:pt idx="2">
                  <c:v>592.06039999999996</c:v>
                </c:pt>
                <c:pt idx="5">
                  <c:v>578.3540000000000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0ML</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K$2:$K$8</c:f>
              <c:numCache>
                <c:formatCode>General</c:formatCode>
                <c:ptCount val="7"/>
                <c:pt idx="1">
                  <c:v>103.944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Oreal: All Others</c:v>
                </c:pt>
                <c:pt idx="5">
                  <c:v>La Roche-Posay</c:v>
                </c:pt>
                <c:pt idx="6">
                  <c:v>Nuvel</c:v>
                </c:pt>
              </c:strCache>
            </c:strRef>
          </c:cat>
          <c:val>
            <c:numRef>
              <c:f>Sheet1!$L$2:$L$8</c:f>
              <c:numCache>
                <c:formatCode>General</c:formatCode>
                <c:ptCount val="7"/>
                <c:pt idx="1">
                  <c:v>96.5779</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Photoderm</c:v>
                </c:pt>
              </c:strCache>
            </c:strRef>
          </c:cat>
          <c:val>
            <c:numRef>
              <c:f>Sheet1!$B$2:$B$3</c:f>
              <c:numCache>
                <c:formatCode>General</c:formatCode>
                <c:ptCount val="2"/>
                <c:pt idx="0">
                  <c:v>47.9256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Photoderm</c:v>
                </c:pt>
              </c:strCache>
            </c:strRef>
          </c:cat>
          <c:val>
            <c:numRef>
              <c:f>Sheet1!$C$2:$C$3</c:f>
              <c:numCache>
                <c:formatCode>General</c:formatCode>
                <c:ptCount val="2"/>
                <c:pt idx="0">
                  <c:v>107.872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cat>
            <c:strRef>
              <c:f>Sheet1!$A$2:$A$3</c:f>
              <c:strCache>
                <c:ptCount val="2"/>
                <c:pt idx="0">
                  <c:v>Others Marca Unif.</c:v>
                </c:pt>
                <c:pt idx="1">
                  <c:v>Photoderm</c:v>
                </c:pt>
              </c:strCache>
            </c:strRef>
          </c:cat>
          <c:val>
            <c:numRef>
              <c:f>Sheet1!$D$2:$D$3</c:f>
              <c:numCache>
                <c:formatCode>General</c:formatCode>
                <c:ptCount val="2"/>
                <c:pt idx="0">
                  <c:v>38.661299999999997</c:v>
                </c:pt>
                <c:pt idx="1">
                  <c:v>368.3226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Others Marca Unif.</c:v>
                </c:pt>
                <c:pt idx="2">
                  <c:v>Nuvel</c:v>
                </c:pt>
              </c:strCache>
            </c:strRef>
          </c:cat>
          <c:val>
            <c:numRef>
              <c:f>Sheet1!$B$2:$B$4</c:f>
              <c:numCache>
                <c:formatCode>General</c:formatCode>
                <c:ptCount val="3"/>
                <c:pt idx="2">
                  <c:v>74.7261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C$2:$C$4</c:f>
              <c:numCache>
                <c:formatCode>General</c:formatCode>
                <c:ptCount val="3"/>
                <c:pt idx="0">
                  <c:v>167.28389999999999</c:v>
                </c:pt>
                <c:pt idx="1">
                  <c:v>138.5867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D$2:$D$4</c:f>
              <c:numCache>
                <c:formatCode>General</c:formatCode>
                <c:ptCount val="3"/>
                <c:pt idx="0">
                  <c:v>263.899800000000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E$2:$E$4</c:f>
              <c:numCache>
                <c:formatCode>General</c:formatCode>
                <c:ptCount val="3"/>
                <c:pt idx="0">
                  <c:v>267.44279999999998</c:v>
                </c:pt>
                <c:pt idx="1">
                  <c:v>105.899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B$2:$B$8</c:f>
              <c:numCache>
                <c:formatCode>General</c:formatCode>
                <c:ptCount val="7"/>
                <c:pt idx="0">
                  <c:v>167.18119999999999</c:v>
                </c:pt>
                <c:pt idx="3">
                  <c:v>119.72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C$2:$C$8</c:f>
              <c:numCache>
                <c:formatCode>General</c:formatCode>
                <c:ptCount val="7"/>
                <c:pt idx="0">
                  <c:v>271.48509999999999</c:v>
                </c:pt>
                <c:pt idx="2">
                  <c:v>316.8095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D$2:$D$8</c:f>
              <c:numCache>
                <c:formatCode>General</c:formatCode>
                <c:ptCount val="7"/>
                <c:pt idx="1">
                  <c:v>280.035900000000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E$2:$E$8</c:f>
              <c:numCache>
                <c:formatCode>General</c:formatCode>
                <c:ptCount val="7"/>
                <c:pt idx="1">
                  <c:v>263.38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F$2:$F$8</c:f>
              <c:numCache>
                <c:formatCode>General</c:formatCode>
                <c:ptCount val="7"/>
                <c:pt idx="0">
                  <c:v>247.24209999999999</c:v>
                </c:pt>
                <c:pt idx="2">
                  <c:v>309.9196</c:v>
                </c:pt>
                <c:pt idx="5">
                  <c:v>209.844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Oreal: All Others</c:v>
                </c:pt>
                <c:pt idx="6">
                  <c:v>La Roche-Posay</c:v>
                </c:pt>
              </c:strCache>
            </c:strRef>
          </c:cat>
          <c:val>
            <c:numRef>
              <c:f>Sheet1!$G$2:$G$8</c:f>
              <c:numCache>
                <c:formatCode>General</c:formatCode>
                <c:ptCount val="7"/>
                <c:pt idx="0">
                  <c:v>234.9486</c:v>
                </c:pt>
                <c:pt idx="4">
                  <c:v>615.43949999999995</c:v>
                </c:pt>
                <c:pt idx="6">
                  <c:v>551.4145999999999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Photoderm</c:v>
                </c:pt>
              </c:strCache>
            </c:strRef>
          </c:cat>
          <c:val>
            <c:numRef>
              <c:f>Sheet1!$B$2:$B$3</c:f>
              <c:numCache>
                <c:formatCode>General</c:formatCode>
                <c:ptCount val="2"/>
                <c:pt idx="0">
                  <c:v>54.97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Photoderm</c:v>
                </c:pt>
              </c:strCache>
            </c:strRef>
          </c:cat>
          <c:val>
            <c:numRef>
              <c:f>Sheet1!$C$2:$C$3</c:f>
              <c:numCache>
                <c:formatCode>General</c:formatCode>
                <c:ptCount val="2"/>
                <c:pt idx="0">
                  <c:v>110.561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cat>
            <c:strRef>
              <c:f>Sheet1!$A$2:$A$3</c:f>
              <c:strCache>
                <c:ptCount val="2"/>
                <c:pt idx="0">
                  <c:v>Others Marca Unif.</c:v>
                </c:pt>
                <c:pt idx="1">
                  <c:v>Photoderm</c:v>
                </c:pt>
              </c:strCache>
            </c:strRef>
          </c:cat>
          <c:val>
            <c:numRef>
              <c:f>Sheet1!$D$2:$D$3</c:f>
              <c:numCache>
                <c:formatCode>General</c:formatCode>
                <c:ptCount val="2"/>
                <c:pt idx="1">
                  <c:v>988.1110999999999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Nuvel</c:v>
                </c:pt>
              </c:strCache>
            </c:strRef>
          </c:cat>
          <c:val>
            <c:numRef>
              <c:f>Sheet1!$B$2:$B$3</c:f>
              <c:numCache>
                <c:formatCode>General</c:formatCode>
                <c:ptCount val="2"/>
                <c:pt idx="1">
                  <c:v>73.144199999999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Nuvel</c:v>
                </c:pt>
              </c:strCache>
            </c:strRef>
          </c:cat>
          <c:val>
            <c:numRef>
              <c:f>Sheet1!$C$2:$C$3</c:f>
              <c:numCache>
                <c:formatCode>General</c:formatCode>
                <c:ptCount val="2"/>
                <c:pt idx="0">
                  <c:v>135.86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cat>
            <c:strRef>
              <c:f>Sheet1!$A$2:$A$3</c:f>
              <c:strCache>
                <c:ptCount val="2"/>
                <c:pt idx="0">
                  <c:v>Others Marca Unif.</c:v>
                </c:pt>
                <c:pt idx="1">
                  <c:v>Nuvel</c:v>
                </c:pt>
              </c:strCache>
            </c:strRef>
          </c:cat>
          <c:val>
            <c:numRef>
              <c:f>Sheet1!$D$2:$D$3</c:f>
              <c:numCache>
                <c:formatCode>General</c:formatCode>
                <c:ptCount val="2"/>
                <c:pt idx="0">
                  <c:v>96.5831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L'Oreal: All Others</c:v>
                </c:pt>
                <c:pt idx="3">
                  <c:v>Nuvel</c:v>
                </c:pt>
              </c:strCache>
            </c:strRef>
          </c:cat>
          <c:val>
            <c:numRef>
              <c:f>Sheet1!$B$2:$B$5</c:f>
              <c:numCache>
                <c:formatCode>General</c:formatCode>
                <c:ptCount val="4"/>
                <c:pt idx="3">
                  <c:v>74.3605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C$2:$C$5</c:f>
              <c:numCache>
                <c:formatCode>General</c:formatCode>
                <c:ptCount val="4"/>
                <c:pt idx="0">
                  <c:v>175.0946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D$2:$D$5</c:f>
              <c:numCache>
                <c:formatCode>General</c:formatCode>
                <c:ptCount val="4"/>
                <c:pt idx="0">
                  <c:v>253.575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E$2:$E$5</c:f>
              <c:numCache>
                <c:formatCode>General</c:formatCode>
                <c:ptCount val="4"/>
                <c:pt idx="1">
                  <c:v>268.102700000000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F$2:$F$5</c:f>
              <c:numCache>
                <c:formatCode>General</c:formatCode>
                <c:ptCount val="4"/>
                <c:pt idx="0">
                  <c:v>262.1005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L'Oreal: All Others</c:v>
                </c:pt>
                <c:pt idx="3">
                  <c:v>Nuvel</c:v>
                </c:pt>
              </c:strCache>
            </c:strRef>
          </c:cat>
          <c:val>
            <c:numRef>
              <c:f>Sheet1!$G$2:$G$5</c:f>
              <c:numCache>
                <c:formatCode>General</c:formatCode>
                <c:ptCount val="4"/>
                <c:pt idx="1">
                  <c:v>258.3457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L'Oreal: All Others</c:v>
                </c:pt>
                <c:pt idx="3">
                  <c:v>Nuvel</c:v>
                </c:pt>
              </c:strCache>
            </c:strRef>
          </c:cat>
          <c:val>
            <c:numRef>
              <c:f>Sheet1!$H$2:$H$5</c:f>
              <c:numCache>
                <c:formatCode>General</c:formatCode>
                <c:ptCount val="4"/>
                <c:pt idx="0">
                  <c:v>245.85820000000001</c:v>
                </c:pt>
                <c:pt idx="2">
                  <c:v>192.5612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I$2:$I$5</c:f>
              <c:numCache>
                <c:formatCode>General</c:formatCode>
                <c:ptCount val="4"/>
                <c:pt idx="0">
                  <c:v>231.72989999999999</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B$2:$B$7</c:f>
              <c:numCache>
                <c:formatCode>General</c:formatCode>
                <c:ptCount val="6"/>
                <c:pt idx="0">
                  <c:v>428.66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C$2:$C$7</c:f>
              <c:numCache>
                <c:formatCode>General</c:formatCode>
                <c:ptCount val="6"/>
                <c:pt idx="1">
                  <c:v>224.5176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D$2:$D$7</c:f>
              <c:numCache>
                <c:formatCode>General</c:formatCode>
                <c:ptCount val="6"/>
                <c:pt idx="4">
                  <c:v>142.6381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E$2:$E$7</c:f>
              <c:numCache>
                <c:formatCode>General</c:formatCode>
                <c:ptCount val="6"/>
                <c:pt idx="0">
                  <c:v>594.23170000000005</c:v>
                </c:pt>
                <c:pt idx="1">
                  <c:v>304.4295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F$2:$F$7</c:f>
              <c:numCache>
                <c:formatCode>General</c:formatCode>
                <c:ptCount val="6"/>
                <c:pt idx="0">
                  <c:v>599.6027000000000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G$2:$G$7</c:f>
              <c:numCache>
                <c:formatCode>General</c:formatCode>
                <c:ptCount val="6"/>
                <c:pt idx="1">
                  <c:v>306.64359999999999</c:v>
                </c:pt>
                <c:pt idx="3">
                  <c:v>247.20529999999999</c:v>
                </c:pt>
                <c:pt idx="5">
                  <c:v>503.300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H$2:$H$7</c:f>
              <c:numCache>
                <c:formatCode>General</c:formatCode>
                <c:ptCount val="6"/>
                <c:pt idx="0">
                  <c:v>582.9502</c:v>
                </c:pt>
                <c:pt idx="2">
                  <c:v>566.588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I$2:$I$7</c:f>
              <c:numCache>
                <c:formatCode>General</c:formatCode>
                <c:ptCount val="6"/>
                <c:pt idx="4">
                  <c:v>125.925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J$2:$J$7</c:f>
              <c:numCache>
                <c:formatCode>General</c:formatCode>
                <c:ptCount val="6"/>
                <c:pt idx="2">
                  <c:v>459.1451000000000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cat>
            <c:strRef>
              <c:f>Sheet1!$A$2:$A$2</c:f>
              <c:strCache>
                <c:ptCount val="1"/>
                <c:pt idx="0">
                  <c:v>Others Marca Unif.</c:v>
                </c:pt>
              </c:strCache>
            </c:strRef>
          </c:cat>
          <c:val>
            <c:numRef>
              <c:f>Sheet1!$B$2:$B$2</c:f>
              <c:numCache>
                <c:formatCode>General</c:formatCode>
                <c:ptCount val="1"/>
                <c:pt idx="0">
                  <c:v>108.879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FD9307-6378-4DC9-B25C-489D164D0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CBA48C-8B77-4AFC-880A-F7F921B89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99AB65C-A6B7-4053-B33C-26BFBD180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D129E1-2783-471B-97B7-A83345059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37FEFD-7D16-4FC3-9123-4952AFDA3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93EE4B2-9904-45B9-B1A7-98D294825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32F03D-9FE3-4313-BF76-172821D72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7DA0167-3087-4433-8409-E94C3A0C3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44.6602</c:v>
                </c:pt>
                <c:pt idx="1">
                  <c:v>552.87279999999998</c:v>
                </c:pt>
                <c:pt idx="2">
                  <c:v>195.17679999999999</c:v>
                </c:pt>
                <c:pt idx="3">
                  <c:v>203.66030000000001</c:v>
                </c:pt>
                <c:pt idx="4">
                  <c:v>544.99419999999998</c:v>
                </c:pt>
                <c:pt idx="5">
                  <c:v>293.06799999999998</c:v>
                </c:pt>
                <c:pt idx="6">
                  <c:v>574.2405</c:v>
                </c:pt>
                <c:pt idx="7">
                  <c:v>521.06539999999995</c:v>
                </c:pt>
                <c:pt idx="8">
                  <c:v>83.242500000000007</c:v>
                </c:pt>
              </c:numCache>
            </c:numRef>
          </c:xVal>
          <c:yVal>
            <c:numRef>
              <c:f>Sheet1!$B$2:$B$10</c:f>
              <c:numCache>
                <c:formatCode>General</c:formatCode>
                <c:ptCount val="9"/>
                <c:pt idx="0">
                  <c:v>0.89500000000000002</c:v>
                </c:pt>
                <c:pt idx="1">
                  <c:v>3.38</c:v>
                </c:pt>
                <c:pt idx="2">
                  <c:v>0.59399999999999997</c:v>
                </c:pt>
                <c:pt idx="3">
                  <c:v>0.59399999999999997</c:v>
                </c:pt>
                <c:pt idx="4">
                  <c:v>4.4909999999999997</c:v>
                </c:pt>
                <c:pt idx="5">
                  <c:v>1.6759999999999999</c:v>
                </c:pt>
                <c:pt idx="6">
                  <c:v>3.9430000000000001</c:v>
                </c:pt>
                <c:pt idx="7">
                  <c:v>3.2330000000000001</c:v>
                </c:pt>
                <c:pt idx="8">
                  <c:v>0.33200000000000002</c:v>
                </c:pt>
              </c:numCache>
            </c:numRef>
          </c:yVal>
          <c:bubbleSize>
            <c:numRef>
              <c:f>Sheet1!$C$2:$C$10</c:f>
              <c:numCache>
                <c:formatCode>General</c:formatCode>
                <c:ptCount val="9"/>
                <c:pt idx="0">
                  <c:v>76877378</c:v>
                </c:pt>
                <c:pt idx="1">
                  <c:v>38563986</c:v>
                </c:pt>
                <c:pt idx="2">
                  <c:v>32325964</c:v>
                </c:pt>
                <c:pt idx="3">
                  <c:v>31364903</c:v>
                </c:pt>
                <c:pt idx="4">
                  <c:v>20599144</c:v>
                </c:pt>
                <c:pt idx="5">
                  <c:v>19334577</c:v>
                </c:pt>
                <c:pt idx="6">
                  <c:v>12851502</c:v>
                </c:pt>
                <c:pt idx="7">
                  <c:v>10428081</c:v>
                </c:pt>
                <c:pt idx="8">
                  <c:v>9482239</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Banana Boat</c:v>
                  </c:pt>
                  <c:pt idx="4">
                    <c:v>La Roche-Posay</c:v>
                  </c:pt>
                  <c:pt idx="5">
                    <c:v>Neutrogena</c:v>
                  </c:pt>
                  <c:pt idx="6">
                    <c:v>Eucerin</c:v>
                  </c:pt>
                  <c:pt idx="7">
                    <c:v>Avene</c:v>
                  </c:pt>
                  <c:pt idx="8">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9"/>
          <c:min val="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L'Oreal: All Others</c:v>
                </c:pt>
                <c:pt idx="3">
                  <c:v>Nuvel</c:v>
                </c:pt>
              </c:strCache>
            </c:strRef>
          </c:cat>
          <c:val>
            <c:numRef>
              <c:f>Sheet1!$B$2:$B$5</c:f>
              <c:numCache>
                <c:formatCode>General</c:formatCode>
                <c:ptCount val="4"/>
                <c:pt idx="1">
                  <c:v>185.38120000000001</c:v>
                </c:pt>
                <c:pt idx="3">
                  <c:v>74.7125999999999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C$2:$C$5</c:f>
              <c:numCache>
                <c:formatCode>General</c:formatCode>
                <c:ptCount val="4"/>
                <c:pt idx="0">
                  <c:v>176.55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D$2:$D$5</c:f>
              <c:numCache>
                <c:formatCode>General</c:formatCode>
                <c:ptCount val="4"/>
                <c:pt idx="0">
                  <c:v>258.364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E$2:$E$5</c:f>
              <c:numCache>
                <c:formatCode>General</c:formatCode>
                <c:ptCount val="4"/>
                <c:pt idx="1">
                  <c:v>261.8464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F$2:$F$5</c:f>
              <c:numCache>
                <c:formatCode>General</c:formatCode>
                <c:ptCount val="4"/>
                <c:pt idx="0">
                  <c:v>260.307399999999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L'Oreal: All Others</c:v>
                </c:pt>
                <c:pt idx="3">
                  <c:v>Nuvel</c:v>
                </c:pt>
              </c:strCache>
            </c:strRef>
          </c:cat>
          <c:val>
            <c:numRef>
              <c:f>Sheet1!$G$2:$G$5</c:f>
              <c:numCache>
                <c:formatCode>General</c:formatCode>
                <c:ptCount val="4"/>
                <c:pt idx="1">
                  <c:v>258.642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L'Oreal: All Others</c:v>
                </c:pt>
                <c:pt idx="3">
                  <c:v>Nuvel</c:v>
                </c:pt>
              </c:strCache>
            </c:strRef>
          </c:cat>
          <c:val>
            <c:numRef>
              <c:f>Sheet1!$H$2:$H$5</c:f>
              <c:numCache>
                <c:formatCode>General</c:formatCode>
                <c:ptCount val="4"/>
                <c:pt idx="0">
                  <c:v>246.47489999999999</c:v>
                </c:pt>
                <c:pt idx="2">
                  <c:v>191.835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I$2:$I$5</c:f>
              <c:numCache>
                <c:formatCode>General</c:formatCode>
                <c:ptCount val="4"/>
                <c:pt idx="0">
                  <c:v>229.9332</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eutrogena</c:v>
                </c:pt>
                <c:pt idx="1">
                  <c:v>Isdin</c:v>
                </c:pt>
                <c:pt idx="2">
                  <c:v>La Roche-Posay</c:v>
                </c:pt>
                <c:pt idx="3">
                  <c:v>L'Oreal: All Others</c:v>
                </c:pt>
                <c:pt idx="4">
                  <c:v>Others Marca Unif.</c:v>
                </c:pt>
                <c:pt idx="5">
                  <c:v>Photoderm</c:v>
                </c:pt>
              </c:strCache>
            </c:strRef>
          </c:cat>
          <c:val>
            <c:numRef>
              <c:f>Sheet1!$B$2:$B$7</c:f>
              <c:numCache>
                <c:formatCode>General</c:formatCode>
                <c:ptCount val="6"/>
                <c:pt idx="0">
                  <c:v>227.18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Isdin</c:v>
                </c:pt>
                <c:pt idx="2">
                  <c:v>La Roche-Posay</c:v>
                </c:pt>
                <c:pt idx="3">
                  <c:v>L'Oreal: All Others</c:v>
                </c:pt>
                <c:pt idx="4">
                  <c:v>Others Marca Unif.</c:v>
                </c:pt>
                <c:pt idx="5">
                  <c:v>Photoderm</c:v>
                </c:pt>
              </c:strCache>
            </c:strRef>
          </c:cat>
          <c:val>
            <c:numRef>
              <c:f>Sheet1!$C$2:$C$7</c:f>
              <c:numCache>
                <c:formatCode>General</c:formatCode>
                <c:ptCount val="6"/>
                <c:pt idx="4">
                  <c:v>140.6682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Isdin</c:v>
                </c:pt>
                <c:pt idx="2">
                  <c:v>La Roche-Posay</c:v>
                </c:pt>
                <c:pt idx="3">
                  <c:v>L'Oreal: All Others</c:v>
                </c:pt>
                <c:pt idx="4">
                  <c:v>Others Marca Unif.</c:v>
                </c:pt>
                <c:pt idx="5">
                  <c:v>Photoderm</c:v>
                </c:pt>
              </c:strCache>
            </c:strRef>
          </c:cat>
          <c:val>
            <c:numRef>
              <c:f>Sheet1!$D$2:$D$7</c:f>
              <c:numCache>
                <c:formatCode>General</c:formatCode>
                <c:ptCount val="6"/>
                <c:pt idx="0">
                  <c:v>302.3603</c:v>
                </c:pt>
                <c:pt idx="1">
                  <c:v>595.6554999999999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Isdin</c:v>
                </c:pt>
                <c:pt idx="2">
                  <c:v>La Roche-Posay</c:v>
                </c:pt>
                <c:pt idx="3">
                  <c:v>L'Oreal: All Others</c:v>
                </c:pt>
                <c:pt idx="4">
                  <c:v>Others Marca Unif.</c:v>
                </c:pt>
                <c:pt idx="5">
                  <c:v>Photoderm</c:v>
                </c:pt>
              </c:strCache>
            </c:strRef>
          </c:cat>
          <c:val>
            <c:numRef>
              <c:f>Sheet1!$E$2:$E$7</c:f>
              <c:numCache>
                <c:formatCode>General</c:formatCode>
                <c:ptCount val="6"/>
                <c:pt idx="1">
                  <c:v>598.2966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Isdin</c:v>
                </c:pt>
                <c:pt idx="2">
                  <c:v>La Roche-Posay</c:v>
                </c:pt>
                <c:pt idx="3">
                  <c:v>L'Oreal: All Others</c:v>
                </c:pt>
                <c:pt idx="4">
                  <c:v>Others Marca Unif.</c:v>
                </c:pt>
                <c:pt idx="5">
                  <c:v>Photoderm</c:v>
                </c:pt>
              </c:strCache>
            </c:strRef>
          </c:cat>
          <c:val>
            <c:numRef>
              <c:f>Sheet1!$F$2:$F$7</c:f>
              <c:numCache>
                <c:formatCode>General</c:formatCode>
                <c:ptCount val="6"/>
                <c:pt idx="0">
                  <c:v>304.11840000000001</c:v>
                </c:pt>
                <c:pt idx="3">
                  <c:v>243.0187</c:v>
                </c:pt>
                <c:pt idx="5">
                  <c:v>543.2938000000000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eutrogena</c:v>
                </c:pt>
                <c:pt idx="1">
                  <c:v>Isdin</c:v>
                </c:pt>
                <c:pt idx="2">
                  <c:v>La Roche-Posay</c:v>
                </c:pt>
                <c:pt idx="3">
                  <c:v>L'Oreal: All Others</c:v>
                </c:pt>
                <c:pt idx="4">
                  <c:v>Others Marca Unif.</c:v>
                </c:pt>
                <c:pt idx="5">
                  <c:v>Photoderm</c:v>
                </c:pt>
              </c:strCache>
            </c:strRef>
          </c:cat>
          <c:val>
            <c:numRef>
              <c:f>Sheet1!$G$2:$G$7</c:f>
              <c:numCache>
                <c:formatCode>General</c:formatCode>
                <c:ptCount val="6"/>
                <c:pt idx="1">
                  <c:v>605.53930000000003</c:v>
                </c:pt>
                <c:pt idx="2">
                  <c:v>598.6263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eutrogena</c:v>
                </c:pt>
                <c:pt idx="1">
                  <c:v>Isdin</c:v>
                </c:pt>
                <c:pt idx="2">
                  <c:v>La Roche-Posay</c:v>
                </c:pt>
                <c:pt idx="3">
                  <c:v>L'Oreal: All Others</c:v>
                </c:pt>
                <c:pt idx="4">
                  <c:v>Others Marca Unif.</c:v>
                </c:pt>
                <c:pt idx="5">
                  <c:v>Photoderm</c:v>
                </c:pt>
              </c:strCache>
            </c:strRef>
          </c:cat>
          <c:val>
            <c:numRef>
              <c:f>Sheet1!$H$2:$H$7</c:f>
              <c:numCache>
                <c:formatCode>General</c:formatCode>
                <c:ptCount val="6"/>
                <c:pt idx="4">
                  <c:v>123.458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5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Isdin</c:v>
                </c:pt>
                <c:pt idx="2">
                  <c:v>La Roche-Posay</c:v>
                </c:pt>
                <c:pt idx="3">
                  <c:v>L'Oreal: All Others</c:v>
                </c:pt>
                <c:pt idx="4">
                  <c:v>Others Marca Unif.</c:v>
                </c:pt>
                <c:pt idx="5">
                  <c:v>Photoderm</c:v>
                </c:pt>
              </c:strCache>
            </c:strRef>
          </c:cat>
          <c:val>
            <c:numRef>
              <c:f>Sheet1!$I$2:$I$7</c:f>
              <c:numCache>
                <c:formatCode>General</c:formatCode>
                <c:ptCount val="6"/>
                <c:pt idx="2">
                  <c:v>481.26949999999999</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cat>
            <c:strRef>
              <c:f>Sheet1!$A$2:$A$2</c:f>
              <c:strCache>
                <c:ptCount val="1"/>
                <c:pt idx="0">
                  <c:v>Others Marca Unif.</c:v>
                </c:pt>
              </c:strCache>
            </c:strRef>
          </c:cat>
          <c:val>
            <c:numRef>
              <c:f>Sheet1!$B$2:$B$2</c:f>
              <c:numCache>
                <c:formatCode>General</c:formatCode>
                <c:ptCount val="1"/>
                <c:pt idx="0">
                  <c:v>118.670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L'Oreal: All Others</c:v>
                </c:pt>
                <c:pt idx="3">
                  <c:v>Nuvel</c:v>
                </c:pt>
              </c:strCache>
            </c:strRef>
          </c:cat>
          <c:val>
            <c:numRef>
              <c:f>Sheet1!$B$2:$B$5</c:f>
              <c:numCache>
                <c:formatCode>General</c:formatCode>
                <c:ptCount val="4"/>
                <c:pt idx="1">
                  <c:v>179.09389999999999</c:v>
                </c:pt>
                <c:pt idx="3">
                  <c:v>74.1680000000000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C$2:$C$5</c:f>
              <c:numCache>
                <c:formatCode>General</c:formatCode>
                <c:ptCount val="4"/>
                <c:pt idx="0">
                  <c:v>174.9781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D$2:$D$5</c:f>
              <c:numCache>
                <c:formatCode>General</c:formatCode>
                <c:ptCount val="4"/>
                <c:pt idx="0">
                  <c:v>257.7812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E$2:$E$5</c:f>
              <c:numCache>
                <c:formatCode>General</c:formatCode>
                <c:ptCount val="4"/>
                <c:pt idx="1">
                  <c:v>256.49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F$2:$F$5</c:f>
              <c:numCache>
                <c:formatCode>General</c:formatCode>
                <c:ptCount val="4"/>
                <c:pt idx="0">
                  <c:v>261.520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L'Oreal: All Others</c:v>
                </c:pt>
                <c:pt idx="3">
                  <c:v>Nuvel</c:v>
                </c:pt>
              </c:strCache>
            </c:strRef>
          </c:cat>
          <c:val>
            <c:numRef>
              <c:f>Sheet1!$G$2:$G$5</c:f>
              <c:numCache>
                <c:formatCode>General</c:formatCode>
                <c:ptCount val="4"/>
                <c:pt idx="1">
                  <c:v>256.7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L'Oreal: All Others</c:v>
                </c:pt>
                <c:pt idx="3">
                  <c:v>Nuvel</c:v>
                </c:pt>
              </c:strCache>
            </c:strRef>
          </c:cat>
          <c:val>
            <c:numRef>
              <c:f>Sheet1!$H$2:$H$5</c:f>
              <c:numCache>
                <c:formatCode>General</c:formatCode>
                <c:ptCount val="4"/>
                <c:pt idx="0">
                  <c:v>242.1233</c:v>
                </c:pt>
                <c:pt idx="2">
                  <c:v>191.1963000000000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I$2:$I$5</c:f>
              <c:numCache>
                <c:formatCode>General</c:formatCode>
                <c:ptCount val="4"/>
                <c:pt idx="0">
                  <c:v>234.9959000000000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La Roche-Posay</c:v>
                </c:pt>
                <c:pt idx="2">
                  <c:v>Neutrogena</c:v>
                </c:pt>
                <c:pt idx="3">
                  <c:v>Vichy</c:v>
                </c:pt>
                <c:pt idx="4">
                  <c:v>Photoderm</c:v>
                </c:pt>
                <c:pt idx="5">
                  <c:v>Others Marca Unif.</c:v>
                </c:pt>
                <c:pt idx="6">
                  <c:v>L'Oreal: All Others</c:v>
                </c:pt>
              </c:strCache>
            </c:strRef>
          </c:cat>
          <c:val>
            <c:numRef>
              <c:f>Sheet1!$B$2:$B$8</c:f>
              <c:numCache>
                <c:formatCode>General</c:formatCode>
                <c:ptCount val="7"/>
                <c:pt idx="2">
                  <c:v>220.2444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La Roche-Posay</c:v>
                </c:pt>
                <c:pt idx="2">
                  <c:v>Neutrogena</c:v>
                </c:pt>
                <c:pt idx="3">
                  <c:v>Vichy</c:v>
                </c:pt>
                <c:pt idx="4">
                  <c:v>Photoderm</c:v>
                </c:pt>
                <c:pt idx="5">
                  <c:v>Others Marca Unif.</c:v>
                </c:pt>
                <c:pt idx="6">
                  <c:v>L'Oreal: All Others</c:v>
                </c:pt>
              </c:strCache>
            </c:strRef>
          </c:cat>
          <c:val>
            <c:numRef>
              <c:f>Sheet1!$C$2:$C$8</c:f>
              <c:numCache>
                <c:formatCode>General</c:formatCode>
                <c:ptCount val="7"/>
                <c:pt idx="0">
                  <c:v>573.4271</c:v>
                </c:pt>
                <c:pt idx="2">
                  <c:v>311.4334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La Roche-Posay</c:v>
                </c:pt>
                <c:pt idx="2">
                  <c:v>Neutrogena</c:v>
                </c:pt>
                <c:pt idx="3">
                  <c:v>Vichy</c:v>
                </c:pt>
                <c:pt idx="4">
                  <c:v>Photoderm</c:v>
                </c:pt>
                <c:pt idx="5">
                  <c:v>Others Marca Unif.</c:v>
                </c:pt>
                <c:pt idx="6">
                  <c:v>L'Oreal: All Others</c:v>
                </c:pt>
              </c:strCache>
            </c:strRef>
          </c:cat>
          <c:val>
            <c:numRef>
              <c:f>Sheet1!$D$2:$D$8</c:f>
              <c:numCache>
                <c:formatCode>General</c:formatCode>
                <c:ptCount val="7"/>
                <c:pt idx="0">
                  <c:v>584.0303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La Roche-Posay</c:v>
                </c:pt>
                <c:pt idx="2">
                  <c:v>Neutrogena</c:v>
                </c:pt>
                <c:pt idx="3">
                  <c:v>Vichy</c:v>
                </c:pt>
                <c:pt idx="4">
                  <c:v>Photoderm</c:v>
                </c:pt>
                <c:pt idx="5">
                  <c:v>Others Marca Unif.</c:v>
                </c:pt>
                <c:pt idx="6">
                  <c:v>L'Oreal: All Others</c:v>
                </c:pt>
              </c:strCache>
            </c:strRef>
          </c:cat>
          <c:val>
            <c:numRef>
              <c:f>Sheet1!$E$2:$E$8</c:f>
              <c:numCache>
                <c:formatCode>General</c:formatCode>
                <c:ptCount val="7"/>
                <c:pt idx="3">
                  <c:v>716.4364000000000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La Roche-Posay</c:v>
                </c:pt>
                <c:pt idx="2">
                  <c:v>Neutrogena</c:v>
                </c:pt>
                <c:pt idx="3">
                  <c:v>Vichy</c:v>
                </c:pt>
                <c:pt idx="4">
                  <c:v>Photoderm</c:v>
                </c:pt>
                <c:pt idx="5">
                  <c:v>Others Marca Unif.</c:v>
                </c:pt>
                <c:pt idx="6">
                  <c:v>L'Oreal: All Others</c:v>
                </c:pt>
              </c:strCache>
            </c:strRef>
          </c:cat>
          <c:val>
            <c:numRef>
              <c:f>Sheet1!$F$2:$F$8</c:f>
              <c:numCache>
                <c:formatCode>General</c:formatCode>
                <c:ptCount val="7"/>
                <c:pt idx="2">
                  <c:v>306.8261</c:v>
                </c:pt>
                <c:pt idx="4">
                  <c:v>480.42529999999999</c:v>
                </c:pt>
                <c:pt idx="6">
                  <c:v>254.673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La Roche-Posay</c:v>
                </c:pt>
                <c:pt idx="2">
                  <c:v>Neutrogena</c:v>
                </c:pt>
                <c:pt idx="3">
                  <c:v>Vichy</c:v>
                </c:pt>
                <c:pt idx="4">
                  <c:v>Photoderm</c:v>
                </c:pt>
                <c:pt idx="5">
                  <c:v>Others Marca Unif.</c:v>
                </c:pt>
                <c:pt idx="6">
                  <c:v>L'Oreal: All Others</c:v>
                </c:pt>
              </c:strCache>
            </c:strRef>
          </c:cat>
          <c:val>
            <c:numRef>
              <c:f>Sheet1!$G$2:$G$8</c:f>
              <c:numCache>
                <c:formatCode>General</c:formatCode>
                <c:ptCount val="7"/>
                <c:pt idx="0">
                  <c:v>554.5367</c:v>
                </c:pt>
                <c:pt idx="1">
                  <c:v>550.46929999999998</c:v>
                </c:pt>
                <c:pt idx="3">
                  <c:v>586.2987000000000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La Roche-Posay</c:v>
                </c:pt>
                <c:pt idx="2">
                  <c:v>Neutrogena</c:v>
                </c:pt>
                <c:pt idx="3">
                  <c:v>Vichy</c:v>
                </c:pt>
                <c:pt idx="4">
                  <c:v>Photoderm</c:v>
                </c:pt>
                <c:pt idx="5">
                  <c:v>Others Marca Unif.</c:v>
                </c:pt>
                <c:pt idx="6">
                  <c:v>L'Oreal: All Others</c:v>
                </c:pt>
              </c:strCache>
            </c:strRef>
          </c:cat>
          <c:val>
            <c:numRef>
              <c:f>Sheet1!$H$2:$H$8</c:f>
              <c:numCache>
                <c:formatCode>General</c:formatCode>
                <c:ptCount val="7"/>
                <c:pt idx="5">
                  <c:v>135.4114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5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La Roche-Posay</c:v>
                </c:pt>
                <c:pt idx="2">
                  <c:v>Neutrogena</c:v>
                </c:pt>
                <c:pt idx="3">
                  <c:v>Vichy</c:v>
                </c:pt>
                <c:pt idx="4">
                  <c:v>Photoderm</c:v>
                </c:pt>
                <c:pt idx="5">
                  <c:v>Others Marca Unif.</c:v>
                </c:pt>
                <c:pt idx="6">
                  <c:v>L'Oreal: All Others</c:v>
                </c:pt>
              </c:strCache>
            </c:strRef>
          </c:cat>
          <c:val>
            <c:numRef>
              <c:f>Sheet1!$I$2:$I$8</c:f>
              <c:numCache>
                <c:formatCode>General</c:formatCode>
                <c:ptCount val="7"/>
                <c:pt idx="1">
                  <c:v>438.34910000000002</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Hawaiian Tropic</c:v>
                </c:pt>
                <c:pt idx="1">
                  <c:v>Others Marca Unif.</c:v>
                </c:pt>
              </c:strCache>
            </c:strRef>
          </c:cat>
          <c:val>
            <c:numRef>
              <c:f>Sheet1!$B$2:$B$3</c:f>
              <c:numCache>
                <c:formatCode>General</c:formatCode>
                <c:ptCount val="2"/>
                <c:pt idx="1">
                  <c:v>107.30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4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Hawaiian Tropic</c:v>
                </c:pt>
                <c:pt idx="1">
                  <c:v>Others Marca Unif.</c:v>
                </c:pt>
              </c:strCache>
            </c:strRef>
          </c:cat>
          <c:val>
            <c:numRef>
              <c:f>Sheet1!$C$2:$C$3</c:f>
              <c:numCache>
                <c:formatCode>General</c:formatCode>
                <c:ptCount val="2"/>
                <c:pt idx="0">
                  <c:v>247.9706999999999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vea</c:v>
                </c:pt>
                <c:pt idx="1">
                  <c:v>Hawaiian Tropic</c:v>
                </c:pt>
                <c:pt idx="2">
                  <c:v>L'Oreal: All Others</c:v>
                </c:pt>
                <c:pt idx="3">
                  <c:v>Inds.Lavin De Mexico: All Others</c:v>
                </c:pt>
                <c:pt idx="4">
                  <c:v>Nuvel</c:v>
                </c:pt>
              </c:strCache>
            </c:strRef>
          </c:cat>
          <c:val>
            <c:numRef>
              <c:f>Sheet1!$B$2:$B$6</c:f>
              <c:numCache>
                <c:formatCode>General</c:formatCode>
                <c:ptCount val="5"/>
                <c:pt idx="4">
                  <c:v>73.7171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L'Oreal: All Others</c:v>
                </c:pt>
                <c:pt idx="3">
                  <c:v>Inds.Lavin De Mexico: All Others</c:v>
                </c:pt>
                <c:pt idx="4">
                  <c:v>Nuvel</c:v>
                </c:pt>
              </c:strCache>
            </c:strRef>
          </c:cat>
          <c:val>
            <c:numRef>
              <c:f>Sheet1!$C$2:$C$6</c:f>
              <c:numCache>
                <c:formatCode>General</c:formatCode>
                <c:ptCount val="5"/>
                <c:pt idx="0">
                  <c:v>180.23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L'Oreal: All Others</c:v>
                </c:pt>
                <c:pt idx="3">
                  <c:v>Inds.Lavin De Mexico: All Others</c:v>
                </c:pt>
                <c:pt idx="4">
                  <c:v>Nuvel</c:v>
                </c:pt>
              </c:strCache>
            </c:strRef>
          </c:cat>
          <c:val>
            <c:numRef>
              <c:f>Sheet1!$D$2:$D$6</c:f>
              <c:numCache>
                <c:formatCode>General</c:formatCode>
                <c:ptCount val="5"/>
                <c:pt idx="0">
                  <c:v>234.5583</c:v>
                </c:pt>
                <c:pt idx="3">
                  <c:v>90.2907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L'Oreal: All Others</c:v>
                </c:pt>
                <c:pt idx="3">
                  <c:v>Inds.Lavin De Mexico: All Others</c:v>
                </c:pt>
                <c:pt idx="4">
                  <c:v>Nuvel</c:v>
                </c:pt>
              </c:strCache>
            </c:strRef>
          </c:cat>
          <c:val>
            <c:numRef>
              <c:f>Sheet1!$E$2:$E$6</c:f>
              <c:numCache>
                <c:formatCode>General</c:formatCode>
                <c:ptCount val="5"/>
                <c:pt idx="0">
                  <c:v>257.7364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L'Oreal: All Others</c:v>
                </c:pt>
                <c:pt idx="3">
                  <c:v>Inds.Lavin De Mexico: All Others</c:v>
                </c:pt>
                <c:pt idx="4">
                  <c:v>Nuvel</c:v>
                </c:pt>
              </c:strCache>
            </c:strRef>
          </c:cat>
          <c:val>
            <c:numRef>
              <c:f>Sheet1!$F$2:$F$6</c:f>
              <c:numCache>
                <c:formatCode>General</c:formatCode>
                <c:ptCount val="5"/>
                <c:pt idx="1">
                  <c:v>254.26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vea</c:v>
                </c:pt>
                <c:pt idx="1">
                  <c:v>Hawaiian Tropic</c:v>
                </c:pt>
                <c:pt idx="2">
                  <c:v>L'Oreal: All Others</c:v>
                </c:pt>
                <c:pt idx="3">
                  <c:v>Inds.Lavin De Mexico: All Others</c:v>
                </c:pt>
                <c:pt idx="4">
                  <c:v>Nuvel</c:v>
                </c:pt>
              </c:strCache>
            </c:strRef>
          </c:cat>
          <c:val>
            <c:numRef>
              <c:f>Sheet1!$G$2:$G$6</c:f>
              <c:numCache>
                <c:formatCode>General</c:formatCode>
                <c:ptCount val="5"/>
                <c:pt idx="0">
                  <c:v>249.07130000000001</c:v>
                </c:pt>
                <c:pt idx="2">
                  <c:v>198.3987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vea</c:v>
                </c:pt>
                <c:pt idx="1">
                  <c:v>Hawaiian Tropic</c:v>
                </c:pt>
                <c:pt idx="2">
                  <c:v>L'Oreal: All Others</c:v>
                </c:pt>
                <c:pt idx="3">
                  <c:v>Inds.Lavin De Mexico: All Others</c:v>
                </c:pt>
                <c:pt idx="4">
                  <c:v>Nuvel</c:v>
                </c:pt>
              </c:strCache>
            </c:strRef>
          </c:cat>
          <c:val>
            <c:numRef>
              <c:f>Sheet1!$H$2:$H$6</c:f>
              <c:numCache>
                <c:formatCode>General</c:formatCode>
                <c:ptCount val="5"/>
                <c:pt idx="0">
                  <c:v>227.9311999999999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eutrogena</c:v>
                </c:pt>
                <c:pt idx="1">
                  <c:v>Isdin</c:v>
                </c:pt>
                <c:pt idx="2">
                  <c:v>L'Oreal: All Others</c:v>
                </c:pt>
                <c:pt idx="3">
                  <c:v>Others Marca Unif.</c:v>
                </c:pt>
                <c:pt idx="4">
                  <c:v>La Roche-Posay</c:v>
                </c:pt>
              </c:strCache>
            </c:strRef>
          </c:cat>
          <c:val>
            <c:numRef>
              <c:f>Sheet1!$B$2:$B$6</c:f>
              <c:numCache>
                <c:formatCode>General</c:formatCode>
                <c:ptCount val="5"/>
                <c:pt idx="0">
                  <c:v>223.24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eutrogena</c:v>
                </c:pt>
                <c:pt idx="1">
                  <c:v>Isdin</c:v>
                </c:pt>
                <c:pt idx="2">
                  <c:v>L'Oreal: All Others</c:v>
                </c:pt>
                <c:pt idx="3">
                  <c:v>Others Marca Unif.</c:v>
                </c:pt>
                <c:pt idx="4">
                  <c:v>La Roche-Posay</c:v>
                </c:pt>
              </c:strCache>
            </c:strRef>
          </c:cat>
          <c:val>
            <c:numRef>
              <c:f>Sheet1!$C$2:$C$6</c:f>
              <c:numCache>
                <c:formatCode>General</c:formatCode>
                <c:ptCount val="5"/>
                <c:pt idx="3">
                  <c:v>143.0346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eutrogena</c:v>
                </c:pt>
                <c:pt idx="1">
                  <c:v>Isdin</c:v>
                </c:pt>
                <c:pt idx="2">
                  <c:v>L'Oreal: All Others</c:v>
                </c:pt>
                <c:pt idx="3">
                  <c:v>Others Marca Unif.</c:v>
                </c:pt>
                <c:pt idx="4">
                  <c:v>La Roche-Posay</c:v>
                </c:pt>
              </c:strCache>
            </c:strRef>
          </c:cat>
          <c:val>
            <c:numRef>
              <c:f>Sheet1!$D$2:$D$6</c:f>
              <c:numCache>
                <c:formatCode>General</c:formatCode>
                <c:ptCount val="5"/>
                <c:pt idx="0">
                  <c:v>282.8960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eutrogena</c:v>
                </c:pt>
                <c:pt idx="1">
                  <c:v>Isdin</c:v>
                </c:pt>
                <c:pt idx="2">
                  <c:v>L'Oreal: All Others</c:v>
                </c:pt>
                <c:pt idx="3">
                  <c:v>Others Marca Unif.</c:v>
                </c:pt>
                <c:pt idx="4">
                  <c:v>La Roche-Posay</c:v>
                </c:pt>
              </c:strCache>
            </c:strRef>
          </c:cat>
          <c:val>
            <c:numRef>
              <c:f>Sheet1!$E$2:$E$6</c:f>
              <c:numCache>
                <c:formatCode>General</c:formatCode>
                <c:ptCount val="5"/>
                <c:pt idx="1">
                  <c:v>615.8108999999999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eutrogena</c:v>
                </c:pt>
                <c:pt idx="1">
                  <c:v>Isdin</c:v>
                </c:pt>
                <c:pt idx="2">
                  <c:v>L'Oreal: All Others</c:v>
                </c:pt>
                <c:pt idx="3">
                  <c:v>Others Marca Unif.</c:v>
                </c:pt>
                <c:pt idx="4">
                  <c:v>La Roche-Posay</c:v>
                </c:pt>
              </c:strCache>
            </c:strRef>
          </c:cat>
          <c:val>
            <c:numRef>
              <c:f>Sheet1!$F$2:$F$6</c:f>
              <c:numCache>
                <c:formatCode>General</c:formatCode>
                <c:ptCount val="5"/>
                <c:pt idx="0">
                  <c:v>308.70659999999998</c:v>
                </c:pt>
                <c:pt idx="2">
                  <c:v>246.6401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eutrogena</c:v>
                </c:pt>
                <c:pt idx="1">
                  <c:v>Isdin</c:v>
                </c:pt>
                <c:pt idx="2">
                  <c:v>L'Oreal: All Others</c:v>
                </c:pt>
                <c:pt idx="3">
                  <c:v>Others Marca Unif.</c:v>
                </c:pt>
                <c:pt idx="4">
                  <c:v>La Roche-Posay</c:v>
                </c:pt>
              </c:strCache>
            </c:strRef>
          </c:cat>
          <c:val>
            <c:numRef>
              <c:f>Sheet1!$G$2:$G$6</c:f>
              <c:numCache>
                <c:formatCode>General</c:formatCode>
                <c:ptCount val="5"/>
                <c:pt idx="4">
                  <c:v>561.8042000000000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eutrogena</c:v>
                </c:pt>
                <c:pt idx="1">
                  <c:v>Isdin</c:v>
                </c:pt>
                <c:pt idx="2">
                  <c:v>L'Oreal: All Others</c:v>
                </c:pt>
                <c:pt idx="3">
                  <c:v>Others Marca Unif.</c:v>
                </c:pt>
                <c:pt idx="4">
                  <c:v>La Roche-Posay</c:v>
                </c:pt>
              </c:strCache>
            </c:strRef>
          </c:cat>
          <c:val>
            <c:numRef>
              <c:f>Sheet1!$H$2:$H$6</c:f>
              <c:numCache>
                <c:formatCode>General</c:formatCode>
                <c:ptCount val="5"/>
                <c:pt idx="3">
                  <c:v>133.320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Hawaiian Tropic</c:v>
                </c:pt>
                <c:pt idx="1">
                  <c:v>Others Marca Unif.</c:v>
                </c:pt>
              </c:strCache>
            </c:strRef>
          </c:cat>
          <c:val>
            <c:numRef>
              <c:f>Sheet1!$B$2:$B$3</c:f>
              <c:numCache>
                <c:formatCode>General</c:formatCode>
                <c:ptCount val="2"/>
                <c:pt idx="1">
                  <c:v>95.3538000000000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Hawaiian Tropic</c:v>
                </c:pt>
                <c:pt idx="1">
                  <c:v>Others Marca Unif.</c:v>
                </c:pt>
              </c:strCache>
            </c:strRef>
          </c:cat>
          <c:val>
            <c:numRef>
              <c:f>Sheet1!$C$2:$C$3</c:f>
              <c:numCache>
                <c:formatCode>General</c:formatCode>
                <c:ptCount val="2"/>
                <c:pt idx="0">
                  <c:v>275.675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cat>
            <c:strRef>
              <c:f>Sheet1!$A$2:$A$3</c:f>
              <c:strCache>
                <c:ptCount val="2"/>
                <c:pt idx="0">
                  <c:v>Hawaiian Tropic</c:v>
                </c:pt>
                <c:pt idx="1">
                  <c:v>Others Marca Unif.</c:v>
                </c:pt>
              </c:strCache>
            </c:strRef>
          </c:cat>
          <c:val>
            <c:numRef>
              <c:f>Sheet1!$D$2:$D$3</c:f>
              <c:numCache>
                <c:formatCode>General</c:formatCode>
                <c:ptCount val="2"/>
                <c:pt idx="0">
                  <c:v>247.52629999999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vea</c:v>
                </c:pt>
                <c:pt idx="1">
                  <c:v>Hawaiian Tropic</c:v>
                </c:pt>
                <c:pt idx="2">
                  <c:v>L'Oreal: All Others</c:v>
                </c:pt>
                <c:pt idx="3">
                  <c:v>Nuvel</c:v>
                </c:pt>
                <c:pt idx="4">
                  <c:v>Inds.Lavin De Mexico: All Others</c:v>
                </c:pt>
              </c:strCache>
            </c:strRef>
          </c:cat>
          <c:val>
            <c:numRef>
              <c:f>Sheet1!$B$2:$B$6</c:f>
              <c:numCache>
                <c:formatCode>General</c:formatCode>
                <c:ptCount val="5"/>
                <c:pt idx="3">
                  <c:v>74.4418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L'Oreal: All Others</c:v>
                </c:pt>
                <c:pt idx="3">
                  <c:v>Nuvel</c:v>
                </c:pt>
                <c:pt idx="4">
                  <c:v>Inds.Lavin De Mexico: All Others</c:v>
                </c:pt>
              </c:strCache>
            </c:strRef>
          </c:cat>
          <c:val>
            <c:numRef>
              <c:f>Sheet1!$C$2:$C$6</c:f>
              <c:numCache>
                <c:formatCode>General</c:formatCode>
                <c:ptCount val="5"/>
                <c:pt idx="0">
                  <c:v>176.1552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L'Oreal: All Others</c:v>
                </c:pt>
                <c:pt idx="3">
                  <c:v>Nuvel</c:v>
                </c:pt>
                <c:pt idx="4">
                  <c:v>Inds.Lavin De Mexico: All Others</c:v>
                </c:pt>
              </c:strCache>
            </c:strRef>
          </c:cat>
          <c:val>
            <c:numRef>
              <c:f>Sheet1!$D$2:$D$6</c:f>
              <c:numCache>
                <c:formatCode>General</c:formatCode>
                <c:ptCount val="5"/>
                <c:pt idx="0">
                  <c:v>254.3492</c:v>
                </c:pt>
                <c:pt idx="4">
                  <c:v>90.046599999999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L'Oreal: All Others</c:v>
                </c:pt>
                <c:pt idx="3">
                  <c:v>Nuvel</c:v>
                </c:pt>
                <c:pt idx="4">
                  <c:v>Inds.Lavin De Mexico: All Others</c:v>
                </c:pt>
              </c:strCache>
            </c:strRef>
          </c:cat>
          <c:val>
            <c:numRef>
              <c:f>Sheet1!$E$2:$E$6</c:f>
              <c:numCache>
                <c:formatCode>General</c:formatCode>
                <c:ptCount val="5"/>
                <c:pt idx="1">
                  <c:v>270.2964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L'Oreal: All Others</c:v>
                </c:pt>
                <c:pt idx="3">
                  <c:v>Nuvel</c:v>
                </c:pt>
                <c:pt idx="4">
                  <c:v>Inds.Lavin De Mexico: All Others</c:v>
                </c:pt>
              </c:strCache>
            </c:strRef>
          </c:cat>
          <c:val>
            <c:numRef>
              <c:f>Sheet1!$F$2:$F$6</c:f>
              <c:numCache>
                <c:formatCode>General</c:formatCode>
                <c:ptCount val="5"/>
                <c:pt idx="0">
                  <c:v>260.535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vea</c:v>
                </c:pt>
                <c:pt idx="1">
                  <c:v>Hawaiian Tropic</c:v>
                </c:pt>
                <c:pt idx="2">
                  <c:v>L'Oreal: All Others</c:v>
                </c:pt>
                <c:pt idx="3">
                  <c:v>Nuvel</c:v>
                </c:pt>
                <c:pt idx="4">
                  <c:v>Inds.Lavin De Mexico: All Others</c:v>
                </c:pt>
              </c:strCache>
            </c:strRef>
          </c:cat>
          <c:val>
            <c:numRef>
              <c:f>Sheet1!$G$2:$G$6</c:f>
              <c:numCache>
                <c:formatCode>General</c:formatCode>
                <c:ptCount val="5"/>
                <c:pt idx="1">
                  <c:v>255.532700000000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vea</c:v>
                </c:pt>
                <c:pt idx="1">
                  <c:v>Hawaiian Tropic</c:v>
                </c:pt>
                <c:pt idx="2">
                  <c:v>L'Oreal: All Others</c:v>
                </c:pt>
                <c:pt idx="3">
                  <c:v>Nuvel</c:v>
                </c:pt>
                <c:pt idx="4">
                  <c:v>Inds.Lavin De Mexico: All Others</c:v>
                </c:pt>
              </c:strCache>
            </c:strRef>
          </c:cat>
          <c:val>
            <c:numRef>
              <c:f>Sheet1!$H$2:$H$6</c:f>
              <c:numCache>
                <c:formatCode>General</c:formatCode>
                <c:ptCount val="5"/>
                <c:pt idx="0">
                  <c:v>245.96190000000001</c:v>
                </c:pt>
                <c:pt idx="2">
                  <c:v>191.7502000000000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L'Oreal: All Others</c:v>
                </c:pt>
                <c:pt idx="3">
                  <c:v>Nuvel</c:v>
                </c:pt>
                <c:pt idx="4">
                  <c:v>Inds.Lavin De Mexico: All Others</c:v>
                </c:pt>
              </c:strCache>
            </c:strRef>
          </c:cat>
          <c:val>
            <c:numRef>
              <c:f>Sheet1!$I$2:$I$6</c:f>
              <c:numCache>
                <c:formatCode>General</c:formatCode>
                <c:ptCount val="5"/>
                <c:pt idx="0">
                  <c:v>229.56639999999999</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DC2BF8E-D5B8-4787-9E53-EE5B954AB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297E0E-30E2-4EBD-9BB6-D4F4A6B67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B60DF2-46F2-4098-B64A-BF0BF120C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8FF5DC-1F08-4F96-95C5-F5C0CBC2F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39043E-D434-4F27-A943-81D5BCA11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8A35EFD-980C-4012-B66A-45843B5DA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DBD4C94-D922-42A5-AF27-E99423E5D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7540F9B-7870-4111-8E18-851158AEC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94.1848</c:v>
                </c:pt>
                <c:pt idx="1">
                  <c:v>451.14890000000003</c:v>
                </c:pt>
                <c:pt idx="2">
                  <c:v>292.351</c:v>
                </c:pt>
                <c:pt idx="3">
                  <c:v>398.23360000000002</c:v>
                </c:pt>
                <c:pt idx="4">
                  <c:v>277.202</c:v>
                </c:pt>
                <c:pt idx="5">
                  <c:v>444.82150000000001</c:v>
                </c:pt>
              </c:numCache>
            </c:numRef>
          </c:xVal>
          <c:yVal>
            <c:numRef>
              <c:f>Sheet1!$B$2:$B$7</c:f>
              <c:numCache>
                <c:formatCode>General</c:formatCode>
                <c:ptCount val="6"/>
                <c:pt idx="0">
                  <c:v>1.911</c:v>
                </c:pt>
                <c:pt idx="1">
                  <c:v>1.387</c:v>
                </c:pt>
                <c:pt idx="2">
                  <c:v>0.64200000000000002</c:v>
                </c:pt>
                <c:pt idx="3">
                  <c:v>0.9</c:v>
                </c:pt>
                <c:pt idx="4">
                  <c:v>1.534</c:v>
                </c:pt>
                <c:pt idx="5">
                  <c:v>0.372</c:v>
                </c:pt>
              </c:numCache>
            </c:numRef>
          </c:yVal>
          <c:bubbleSize>
            <c:numRef>
              <c:f>Sheet1!$C$2:$C$7</c:f>
              <c:numCache>
                <c:formatCode>General</c:formatCode>
                <c:ptCount val="6"/>
                <c:pt idx="0">
                  <c:v>4965545</c:v>
                </c:pt>
                <c:pt idx="1">
                  <c:v>2807951</c:v>
                </c:pt>
                <c:pt idx="2">
                  <c:v>1714346</c:v>
                </c:pt>
                <c:pt idx="3">
                  <c:v>1174789</c:v>
                </c:pt>
                <c:pt idx="4">
                  <c:v>469303</c:v>
                </c:pt>
                <c:pt idx="5">
                  <c:v>363864</c:v>
                </c:pt>
              </c:numCache>
            </c:numRef>
          </c:bubbleSize>
          <c:bubble3D val="0"/>
          <c:extLst>
            <c:ext xmlns:c15="http://schemas.microsoft.com/office/drawing/2012/chart" uri="{02D57815-91ED-43cb-92C2-25804820EDAC}">
              <c15:datalabelsRange>
                <c15:f>Sheet1!$E$2:$E$10</c15:f>
                <c15:dlblRangeCache>
                  <c:ptCount val="9"/>
                  <c:pt idx="0">
                    <c:v>La Roche-Posay</c:v>
                  </c:pt>
                  <c:pt idx="1">
                    <c:v>Avene</c:v>
                  </c:pt>
                  <c:pt idx="2">
                    <c:v>Vichy</c:v>
                  </c:pt>
                  <c:pt idx="3">
                    <c:v>Eucerin</c:v>
                  </c:pt>
                  <c:pt idx="4">
                    <c:v>Photoderm</c:v>
                  </c:pt>
                  <c:pt idx="5">
                    <c:v>Eclipso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1"/>
          <c:min val="2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B$2:$B$7</c:f>
              <c:numCache>
                <c:formatCode>General</c:formatCode>
                <c:ptCount val="6"/>
                <c:pt idx="0">
                  <c:v>438.254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C$2:$C$7</c:f>
              <c:numCache>
                <c:formatCode>General</c:formatCode>
                <c:ptCount val="6"/>
                <c:pt idx="1">
                  <c:v>226.39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D$2:$D$7</c:f>
              <c:numCache>
                <c:formatCode>General</c:formatCode>
                <c:ptCount val="6"/>
                <c:pt idx="4">
                  <c:v>143.6307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E$2:$E$7</c:f>
              <c:numCache>
                <c:formatCode>General</c:formatCode>
                <c:ptCount val="6"/>
                <c:pt idx="0">
                  <c:v>606.76030000000003</c:v>
                </c:pt>
                <c:pt idx="1">
                  <c:v>305.2633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F$2:$F$7</c:f>
              <c:numCache>
                <c:formatCode>General</c:formatCode>
                <c:ptCount val="6"/>
                <c:pt idx="0">
                  <c:v>609.599299999999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G$2:$G$7</c:f>
              <c:numCache>
                <c:formatCode>General</c:formatCode>
                <c:ptCount val="6"/>
                <c:pt idx="1">
                  <c:v>304.52179999999998</c:v>
                </c:pt>
                <c:pt idx="3">
                  <c:v>242.72130000000001</c:v>
                </c:pt>
                <c:pt idx="5">
                  <c:v>568.5404999999999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H$2:$H$7</c:f>
              <c:numCache>
                <c:formatCode>General</c:formatCode>
                <c:ptCount val="6"/>
                <c:pt idx="0">
                  <c:v>601.17520000000002</c:v>
                </c:pt>
                <c:pt idx="2">
                  <c:v>587.0032999999999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I$2:$I$7</c:f>
              <c:numCache>
                <c:formatCode>General</c:formatCode>
                <c:ptCount val="6"/>
                <c:pt idx="4">
                  <c:v>128.1158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L'Oreal: All Others</c:v>
                </c:pt>
                <c:pt idx="4">
                  <c:v>Others Marca Unif.</c:v>
                </c:pt>
                <c:pt idx="5">
                  <c:v>Photoderm</c:v>
                </c:pt>
              </c:strCache>
            </c:strRef>
          </c:cat>
          <c:val>
            <c:numRef>
              <c:f>Sheet1!$J$2:$J$7</c:f>
              <c:numCache>
                <c:formatCode>General</c:formatCode>
                <c:ptCount val="6"/>
                <c:pt idx="2">
                  <c:v>469.76010000000002</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cat>
            <c:strRef>
              <c:f>Sheet1!$A$2:$A$2</c:f>
              <c:strCache>
                <c:ptCount val="1"/>
                <c:pt idx="0">
                  <c:v>Others Marca Unif.</c:v>
                </c:pt>
              </c:strCache>
            </c:strRef>
          </c:cat>
          <c:val>
            <c:numRef>
              <c:f>Sheet1!$B$2:$B$2</c:f>
              <c:numCache>
                <c:formatCode>General</c:formatCode>
                <c:ptCount val="1"/>
                <c:pt idx="0">
                  <c:v>109.271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Nuvel</c:v>
                </c:pt>
                <c:pt idx="3">
                  <c:v>L'Oreal: All Others</c:v>
                </c:pt>
              </c:strCache>
            </c:strRef>
          </c:cat>
          <c:val>
            <c:numRef>
              <c:f>Sheet1!$B$2:$B$5</c:f>
              <c:numCache>
                <c:formatCode>General</c:formatCode>
                <c:ptCount val="4"/>
                <c:pt idx="2">
                  <c:v>74.8204000000000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Nuvel</c:v>
                </c:pt>
                <c:pt idx="3">
                  <c:v>L'Oreal: All Others</c:v>
                </c:pt>
              </c:strCache>
            </c:strRef>
          </c:cat>
          <c:val>
            <c:numRef>
              <c:f>Sheet1!$C$2:$C$5</c:f>
              <c:numCache>
                <c:formatCode>General</c:formatCode>
                <c:ptCount val="4"/>
                <c:pt idx="0">
                  <c:v>177.10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Nuvel</c:v>
                </c:pt>
                <c:pt idx="3">
                  <c:v>L'Oreal: All Others</c:v>
                </c:pt>
              </c:strCache>
            </c:strRef>
          </c:cat>
          <c:val>
            <c:numRef>
              <c:f>Sheet1!$D$2:$D$5</c:f>
              <c:numCache>
                <c:formatCode>General</c:formatCode>
                <c:ptCount val="4"/>
                <c:pt idx="0">
                  <c:v>263.899800000000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Nuvel</c:v>
                </c:pt>
                <c:pt idx="3">
                  <c:v>L'Oreal: All Others</c:v>
                </c:pt>
              </c:strCache>
            </c:strRef>
          </c:cat>
          <c:val>
            <c:numRef>
              <c:f>Sheet1!$E$2:$E$5</c:f>
              <c:numCache>
                <c:formatCode>General</c:formatCode>
                <c:ptCount val="4"/>
                <c:pt idx="1">
                  <c:v>287.1750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Nuvel</c:v>
                </c:pt>
                <c:pt idx="3">
                  <c:v>L'Oreal: All Others</c:v>
                </c:pt>
              </c:strCache>
            </c:strRef>
          </c:cat>
          <c:val>
            <c:numRef>
              <c:f>Sheet1!$F$2:$F$5</c:f>
              <c:numCache>
                <c:formatCode>General</c:formatCode>
                <c:ptCount val="4"/>
                <c:pt idx="0">
                  <c:v>266.9304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Nuvel</c:v>
                </c:pt>
                <c:pt idx="3">
                  <c:v>L'Oreal: All Others</c:v>
                </c:pt>
              </c:strCache>
            </c:strRef>
          </c:cat>
          <c:val>
            <c:numRef>
              <c:f>Sheet1!$G$2:$G$5</c:f>
              <c:numCache>
                <c:formatCode>General</c:formatCode>
                <c:ptCount val="4"/>
                <c:pt idx="1">
                  <c:v>264.225500000000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Nuvel</c:v>
                </c:pt>
                <c:pt idx="3">
                  <c:v>L'Oreal: All Others</c:v>
                </c:pt>
              </c:strCache>
            </c:strRef>
          </c:cat>
          <c:val>
            <c:numRef>
              <c:f>Sheet1!$H$2:$H$5</c:f>
              <c:numCache>
                <c:formatCode>General</c:formatCode>
                <c:ptCount val="4"/>
                <c:pt idx="0">
                  <c:v>245.40479999999999</c:v>
                </c:pt>
                <c:pt idx="3">
                  <c:v>194.989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Nuvel</c:v>
                </c:pt>
                <c:pt idx="3">
                  <c:v>L'Oreal: All Others</c:v>
                </c:pt>
              </c:strCache>
            </c:strRef>
          </c:cat>
          <c:val>
            <c:numRef>
              <c:f>Sheet1!$I$2:$I$5</c:f>
              <c:numCache>
                <c:formatCode>General</c:formatCode>
                <c:ptCount val="4"/>
                <c:pt idx="0">
                  <c:v>234.66229999999999</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Neutrogena</c:v>
                </c:pt>
                <c:pt idx="2">
                  <c:v>La Roche-Posay</c:v>
                </c:pt>
                <c:pt idx="3">
                  <c:v>Others Marca Unif.</c:v>
                </c:pt>
                <c:pt idx="4">
                  <c:v>L'Oreal: All Others</c:v>
                </c:pt>
                <c:pt idx="5">
                  <c:v>Photoderm</c:v>
                </c:pt>
                <c:pt idx="6">
                  <c:v>Vichy</c:v>
                </c:pt>
              </c:strCache>
            </c:strRef>
          </c:cat>
          <c:val>
            <c:numRef>
              <c:f>Sheet1!$B$2:$B$8</c:f>
              <c:numCache>
                <c:formatCode>General</c:formatCode>
                <c:ptCount val="7"/>
                <c:pt idx="0">
                  <c:v>434.10219999999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Neutrogena</c:v>
                </c:pt>
                <c:pt idx="2">
                  <c:v>La Roche-Posay</c:v>
                </c:pt>
                <c:pt idx="3">
                  <c:v>Others Marca Unif.</c:v>
                </c:pt>
                <c:pt idx="4">
                  <c:v>L'Oreal: All Others</c:v>
                </c:pt>
                <c:pt idx="5">
                  <c:v>Photoderm</c:v>
                </c:pt>
                <c:pt idx="6">
                  <c:v>Vichy</c:v>
                </c:pt>
              </c:strCache>
            </c:strRef>
          </c:cat>
          <c:val>
            <c:numRef>
              <c:f>Sheet1!$C$2:$C$8</c:f>
              <c:numCache>
                <c:formatCode>General</c:formatCode>
                <c:ptCount val="7"/>
                <c:pt idx="1">
                  <c:v>226.5707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Neutrogena</c:v>
                </c:pt>
                <c:pt idx="2">
                  <c:v>La Roche-Posay</c:v>
                </c:pt>
                <c:pt idx="3">
                  <c:v>Others Marca Unif.</c:v>
                </c:pt>
                <c:pt idx="4">
                  <c:v>L'Oreal: All Others</c:v>
                </c:pt>
                <c:pt idx="5">
                  <c:v>Photoderm</c:v>
                </c:pt>
                <c:pt idx="6">
                  <c:v>Vichy</c:v>
                </c:pt>
              </c:strCache>
            </c:strRef>
          </c:cat>
          <c:val>
            <c:numRef>
              <c:f>Sheet1!$D$2:$D$8</c:f>
              <c:numCache>
                <c:formatCode>General</c:formatCode>
                <c:ptCount val="7"/>
                <c:pt idx="3">
                  <c:v>147.1503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Neutrogena</c:v>
                </c:pt>
                <c:pt idx="2">
                  <c:v>La Roche-Posay</c:v>
                </c:pt>
                <c:pt idx="3">
                  <c:v>Others Marca Unif.</c:v>
                </c:pt>
                <c:pt idx="4">
                  <c:v>L'Oreal: All Others</c:v>
                </c:pt>
                <c:pt idx="5">
                  <c:v>Photoderm</c:v>
                </c:pt>
                <c:pt idx="6">
                  <c:v>Vichy</c:v>
                </c:pt>
              </c:strCache>
            </c:strRef>
          </c:cat>
          <c:val>
            <c:numRef>
              <c:f>Sheet1!$E$2:$E$8</c:f>
              <c:numCache>
                <c:formatCode>General</c:formatCode>
                <c:ptCount val="7"/>
                <c:pt idx="0">
                  <c:v>603.21709999999996</c:v>
                </c:pt>
                <c:pt idx="1">
                  <c:v>312.66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Neutrogena</c:v>
                </c:pt>
                <c:pt idx="2">
                  <c:v>La Roche-Posay</c:v>
                </c:pt>
                <c:pt idx="3">
                  <c:v>Others Marca Unif.</c:v>
                </c:pt>
                <c:pt idx="4">
                  <c:v>L'Oreal: All Others</c:v>
                </c:pt>
                <c:pt idx="5">
                  <c:v>Photoderm</c:v>
                </c:pt>
                <c:pt idx="6">
                  <c:v>Vichy</c:v>
                </c:pt>
              </c:strCache>
            </c:strRef>
          </c:cat>
          <c:val>
            <c:numRef>
              <c:f>Sheet1!$F$2:$F$8</c:f>
              <c:numCache>
                <c:formatCode>General</c:formatCode>
                <c:ptCount val="7"/>
                <c:pt idx="0">
                  <c:v>608.7155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Neutrogena</c:v>
                </c:pt>
                <c:pt idx="2">
                  <c:v>La Roche-Posay</c:v>
                </c:pt>
                <c:pt idx="3">
                  <c:v>Others Marca Unif.</c:v>
                </c:pt>
                <c:pt idx="4">
                  <c:v>L'Oreal: All Others</c:v>
                </c:pt>
                <c:pt idx="5">
                  <c:v>Photoderm</c:v>
                </c:pt>
                <c:pt idx="6">
                  <c:v>Vichy</c:v>
                </c:pt>
              </c:strCache>
            </c:strRef>
          </c:cat>
          <c:val>
            <c:numRef>
              <c:f>Sheet1!$G$2:$G$8</c:f>
              <c:numCache>
                <c:formatCode>General</c:formatCode>
                <c:ptCount val="7"/>
                <c:pt idx="6">
                  <c:v>771.6883000000000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Neutrogena</c:v>
                </c:pt>
                <c:pt idx="2">
                  <c:v>La Roche-Posay</c:v>
                </c:pt>
                <c:pt idx="3">
                  <c:v>Others Marca Unif.</c:v>
                </c:pt>
                <c:pt idx="4">
                  <c:v>L'Oreal: All Others</c:v>
                </c:pt>
                <c:pt idx="5">
                  <c:v>Photoderm</c:v>
                </c:pt>
                <c:pt idx="6">
                  <c:v>Vichy</c:v>
                </c:pt>
              </c:strCache>
            </c:strRef>
          </c:cat>
          <c:val>
            <c:numRef>
              <c:f>Sheet1!$H$2:$H$8</c:f>
              <c:numCache>
                <c:formatCode>General</c:formatCode>
                <c:ptCount val="7"/>
                <c:pt idx="1">
                  <c:v>309.59649999999999</c:v>
                </c:pt>
                <c:pt idx="4">
                  <c:v>250.78720000000001</c:v>
                </c:pt>
                <c:pt idx="5">
                  <c:v>534.4497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Neutrogena</c:v>
                </c:pt>
                <c:pt idx="2">
                  <c:v>La Roche-Posay</c:v>
                </c:pt>
                <c:pt idx="3">
                  <c:v>Others Marca Unif.</c:v>
                </c:pt>
                <c:pt idx="4">
                  <c:v>L'Oreal: All Others</c:v>
                </c:pt>
                <c:pt idx="5">
                  <c:v>Photoderm</c:v>
                </c:pt>
                <c:pt idx="6">
                  <c:v>Vichy</c:v>
                </c:pt>
              </c:strCache>
            </c:strRef>
          </c:cat>
          <c:val>
            <c:numRef>
              <c:f>Sheet1!$I$2:$I$8</c:f>
              <c:numCache>
                <c:formatCode>General</c:formatCode>
                <c:ptCount val="7"/>
                <c:pt idx="0">
                  <c:v>592.23889999999994</c:v>
                </c:pt>
                <c:pt idx="2">
                  <c:v>577.7385000000000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Neutrogena</c:v>
                </c:pt>
                <c:pt idx="2">
                  <c:v>La Roche-Posay</c:v>
                </c:pt>
                <c:pt idx="3">
                  <c:v>Others Marca Unif.</c:v>
                </c:pt>
                <c:pt idx="4">
                  <c:v>L'Oreal: All Others</c:v>
                </c:pt>
                <c:pt idx="5">
                  <c:v>Photoderm</c:v>
                </c:pt>
                <c:pt idx="6">
                  <c:v>Vichy</c:v>
                </c:pt>
              </c:strCache>
            </c:strRef>
          </c:cat>
          <c:val>
            <c:numRef>
              <c:f>Sheet1!$J$2:$J$8</c:f>
              <c:numCache>
                <c:formatCode>General</c:formatCode>
                <c:ptCount val="7"/>
                <c:pt idx="3">
                  <c:v>126.388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5ML</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Neutrogena</c:v>
                </c:pt>
                <c:pt idx="2">
                  <c:v>La Roche-Posay</c:v>
                </c:pt>
                <c:pt idx="3">
                  <c:v>Others Marca Unif.</c:v>
                </c:pt>
                <c:pt idx="4">
                  <c:v>L'Oreal: All Others</c:v>
                </c:pt>
                <c:pt idx="5">
                  <c:v>Photoderm</c:v>
                </c:pt>
                <c:pt idx="6">
                  <c:v>Vichy</c:v>
                </c:pt>
              </c:strCache>
            </c:strRef>
          </c:cat>
          <c:val>
            <c:numRef>
              <c:f>Sheet1!$K$2:$K$8</c:f>
              <c:numCache>
                <c:formatCode>General</c:formatCode>
                <c:ptCount val="7"/>
                <c:pt idx="2">
                  <c:v>476.41050000000001</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cat>
            <c:strRef>
              <c:f>Sheet1!$A$2:$A$2</c:f>
              <c:strCache>
                <c:ptCount val="1"/>
                <c:pt idx="0">
                  <c:v>Others Marca Unif.</c:v>
                </c:pt>
              </c:strCache>
            </c:strRef>
          </c:cat>
          <c:val>
            <c:numRef>
              <c:f>Sheet1!$B$2:$B$2</c:f>
              <c:numCache>
                <c:formatCode>General</c:formatCode>
                <c:ptCount val="1"/>
                <c:pt idx="0">
                  <c:v>111.882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L'Oreal: All Others</c:v>
                </c:pt>
                <c:pt idx="3">
                  <c:v>Nuvel</c:v>
                </c:pt>
              </c:strCache>
            </c:strRef>
          </c:cat>
          <c:val>
            <c:numRef>
              <c:f>Sheet1!$B$2:$B$5</c:f>
              <c:numCache>
                <c:formatCode>General</c:formatCode>
                <c:ptCount val="4"/>
                <c:pt idx="3">
                  <c:v>73.0855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C$2:$C$5</c:f>
              <c:numCache>
                <c:formatCode>General</c:formatCode>
                <c:ptCount val="4"/>
                <c:pt idx="0">
                  <c:v>166.5216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D$2:$D$5</c:f>
              <c:numCache>
                <c:formatCode>General</c:formatCode>
                <c:ptCount val="4"/>
                <c:pt idx="0">
                  <c:v>270.7844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E$2:$E$5</c:f>
              <c:numCache>
                <c:formatCode>General</c:formatCode>
                <c:ptCount val="4"/>
                <c:pt idx="0">
                  <c:v>271.1804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L'Oreal: All Others</c:v>
                </c:pt>
                <c:pt idx="3">
                  <c:v>Nuvel</c:v>
                </c:pt>
              </c:strCache>
            </c:strRef>
          </c:cat>
          <c:val>
            <c:numRef>
              <c:f>Sheet1!$F$2:$F$5</c:f>
              <c:numCache>
                <c:formatCode>General</c:formatCode>
                <c:ptCount val="4"/>
                <c:pt idx="1">
                  <c:v>261.95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L'Oreal: All Others</c:v>
                </c:pt>
                <c:pt idx="3">
                  <c:v>Nuvel</c:v>
                </c:pt>
              </c:strCache>
            </c:strRef>
          </c:cat>
          <c:val>
            <c:numRef>
              <c:f>Sheet1!$G$2:$G$5</c:f>
              <c:numCache>
                <c:formatCode>General</c:formatCode>
                <c:ptCount val="4"/>
                <c:pt idx="0">
                  <c:v>247.24209999999999</c:v>
                </c:pt>
                <c:pt idx="2">
                  <c:v>187.359800000000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L'Oreal: All Others</c:v>
                </c:pt>
                <c:pt idx="3">
                  <c:v>Nuvel</c:v>
                </c:pt>
              </c:strCache>
            </c:strRef>
          </c:cat>
          <c:val>
            <c:numRef>
              <c:f>Sheet1!$H$2:$H$5</c:f>
              <c:numCache>
                <c:formatCode>General</c:formatCode>
                <c:ptCount val="4"/>
                <c:pt idx="0">
                  <c:v>234.948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eutrogena</c:v>
                </c:pt>
                <c:pt idx="1">
                  <c:v>Isdin</c:v>
                </c:pt>
                <c:pt idx="2">
                  <c:v>La Roche-Posay</c:v>
                </c:pt>
                <c:pt idx="3">
                  <c:v>Others Marca Unif.</c:v>
                </c:pt>
                <c:pt idx="4">
                  <c:v>L'Oreal: All Others</c:v>
                </c:pt>
                <c:pt idx="5">
                  <c:v>Photoderm</c:v>
                </c:pt>
              </c:strCache>
            </c:strRef>
          </c:cat>
          <c:val>
            <c:numRef>
              <c:f>Sheet1!$B$2:$B$7</c:f>
              <c:numCache>
                <c:formatCode>General</c:formatCode>
                <c:ptCount val="6"/>
                <c:pt idx="0">
                  <c:v>221.2674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Isdin</c:v>
                </c:pt>
                <c:pt idx="2">
                  <c:v>La Roche-Posay</c:v>
                </c:pt>
                <c:pt idx="3">
                  <c:v>Others Marca Unif.</c:v>
                </c:pt>
                <c:pt idx="4">
                  <c:v>L'Oreal: All Others</c:v>
                </c:pt>
                <c:pt idx="5">
                  <c:v>Photoderm</c:v>
                </c:pt>
              </c:strCache>
            </c:strRef>
          </c:cat>
          <c:val>
            <c:numRef>
              <c:f>Sheet1!$C$2:$C$7</c:f>
              <c:numCache>
                <c:formatCode>General</c:formatCode>
                <c:ptCount val="6"/>
                <c:pt idx="3">
                  <c:v>139.4414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Isdin</c:v>
                </c:pt>
                <c:pt idx="2">
                  <c:v>La Roche-Posay</c:v>
                </c:pt>
                <c:pt idx="3">
                  <c:v>Others Marca Unif.</c:v>
                </c:pt>
                <c:pt idx="4">
                  <c:v>L'Oreal: All Others</c:v>
                </c:pt>
                <c:pt idx="5">
                  <c:v>Photoderm</c:v>
                </c:pt>
              </c:strCache>
            </c:strRef>
          </c:cat>
          <c:val>
            <c:numRef>
              <c:f>Sheet1!$D$2:$D$7</c:f>
              <c:numCache>
                <c:formatCode>General</c:formatCode>
                <c:ptCount val="6"/>
                <c:pt idx="0">
                  <c:v>316.80950000000001</c:v>
                </c:pt>
                <c:pt idx="1">
                  <c:v>594.68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Isdin</c:v>
                </c:pt>
                <c:pt idx="2">
                  <c:v>La Roche-Posay</c:v>
                </c:pt>
                <c:pt idx="3">
                  <c:v>Others Marca Unif.</c:v>
                </c:pt>
                <c:pt idx="4">
                  <c:v>L'Oreal: All Others</c:v>
                </c:pt>
                <c:pt idx="5">
                  <c:v>Photoderm</c:v>
                </c:pt>
              </c:strCache>
            </c:strRef>
          </c:cat>
          <c:val>
            <c:numRef>
              <c:f>Sheet1!$E$2:$E$7</c:f>
              <c:numCache>
                <c:formatCode>General</c:formatCode>
                <c:ptCount val="6"/>
                <c:pt idx="1">
                  <c:v>615.638299999999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Isdin</c:v>
                </c:pt>
                <c:pt idx="2">
                  <c:v>La Roche-Posay</c:v>
                </c:pt>
                <c:pt idx="3">
                  <c:v>Others Marca Unif.</c:v>
                </c:pt>
                <c:pt idx="4">
                  <c:v>L'Oreal: All Others</c:v>
                </c:pt>
                <c:pt idx="5">
                  <c:v>Photoderm</c:v>
                </c:pt>
              </c:strCache>
            </c:strRef>
          </c:cat>
          <c:val>
            <c:numRef>
              <c:f>Sheet1!$F$2:$F$7</c:f>
              <c:numCache>
                <c:formatCode>General</c:formatCode>
                <c:ptCount val="6"/>
                <c:pt idx="0">
                  <c:v>309.9196</c:v>
                </c:pt>
                <c:pt idx="4">
                  <c:v>249.09819999999999</c:v>
                </c:pt>
                <c:pt idx="5">
                  <c:v>440.0199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eutrogena</c:v>
                </c:pt>
                <c:pt idx="1">
                  <c:v>Isdin</c:v>
                </c:pt>
                <c:pt idx="2">
                  <c:v>La Roche-Posay</c:v>
                </c:pt>
                <c:pt idx="3">
                  <c:v>Others Marca Unif.</c:v>
                </c:pt>
                <c:pt idx="4">
                  <c:v>L'Oreal: All Others</c:v>
                </c:pt>
                <c:pt idx="5">
                  <c:v>Photoderm</c:v>
                </c:pt>
              </c:strCache>
            </c:strRef>
          </c:cat>
          <c:val>
            <c:numRef>
              <c:f>Sheet1!$G$2:$G$7</c:f>
              <c:numCache>
                <c:formatCode>General</c:formatCode>
                <c:ptCount val="6"/>
                <c:pt idx="2">
                  <c:v>552.533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eutrogena</c:v>
                </c:pt>
                <c:pt idx="1">
                  <c:v>Isdin</c:v>
                </c:pt>
                <c:pt idx="2">
                  <c:v>La Roche-Posay</c:v>
                </c:pt>
                <c:pt idx="3">
                  <c:v>Others Marca Unif.</c:v>
                </c:pt>
                <c:pt idx="4">
                  <c:v>L'Oreal: All Others</c:v>
                </c:pt>
                <c:pt idx="5">
                  <c:v>Photoderm</c:v>
                </c:pt>
              </c:strCache>
            </c:strRef>
          </c:cat>
          <c:val>
            <c:numRef>
              <c:f>Sheet1!$H$2:$H$7</c:f>
              <c:numCache>
                <c:formatCode>General</c:formatCode>
                <c:ptCount val="6"/>
                <c:pt idx="3">
                  <c:v>110.946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5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Isdin</c:v>
                </c:pt>
                <c:pt idx="2">
                  <c:v>La Roche-Posay</c:v>
                </c:pt>
                <c:pt idx="3">
                  <c:v>Others Marca Unif.</c:v>
                </c:pt>
                <c:pt idx="4">
                  <c:v>L'Oreal: All Others</c:v>
                </c:pt>
                <c:pt idx="5">
                  <c:v>Photoderm</c:v>
                </c:pt>
              </c:strCache>
            </c:strRef>
          </c:cat>
          <c:val>
            <c:numRef>
              <c:f>Sheet1!$I$2:$I$7</c:f>
              <c:numCache>
                <c:formatCode>General</c:formatCode>
                <c:ptCount val="6"/>
                <c:pt idx="2">
                  <c:v>486.16239999999999</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cat>
            <c:strRef>
              <c:f>Sheet1!$A$2:$A$2</c:f>
              <c:strCache>
                <c:ptCount val="1"/>
                <c:pt idx="0">
                  <c:v>Others Marca Unif.</c:v>
                </c:pt>
              </c:strCache>
            </c:strRef>
          </c:cat>
          <c:val>
            <c:numRef>
              <c:f>Sheet1!$B$2:$B$2</c:f>
              <c:numCache>
                <c:formatCode>General</c:formatCode>
                <c:ptCount val="1"/>
                <c:pt idx="0">
                  <c:v>112.4278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vea</c:v>
                </c:pt>
                <c:pt idx="1">
                  <c:v>Neutrogena</c:v>
                </c:pt>
                <c:pt idx="2">
                  <c:v>Hawaiian Tropic</c:v>
                </c:pt>
                <c:pt idx="3">
                  <c:v>Isdin</c:v>
                </c:pt>
                <c:pt idx="4">
                  <c:v>Others Marca Unif.</c:v>
                </c:pt>
                <c:pt idx="5">
                  <c:v>Nuvel</c:v>
                </c:pt>
                <c:pt idx="6">
                  <c:v>L'Oreal: All Others</c:v>
                </c:pt>
                <c:pt idx="7">
                  <c:v>Eucerin</c:v>
                </c:pt>
                <c:pt idx="8">
                  <c:v>La Roche-Posay</c:v>
                </c:pt>
              </c:strCache>
            </c:strRef>
          </c:cat>
          <c:val>
            <c:numRef>
              <c:f>Sheet1!$B$2:$B$10</c:f>
              <c:numCache>
                <c:formatCode>General</c:formatCode>
                <c:ptCount val="9"/>
                <c:pt idx="1">
                  <c:v>224.51769999999999</c:v>
                </c:pt>
                <c:pt idx="2">
                  <c:v>180.8262</c:v>
                </c:pt>
                <c:pt idx="5">
                  <c:v>74.3605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vea</c:v>
                </c:pt>
                <c:pt idx="1">
                  <c:v>Neutrogena</c:v>
                </c:pt>
                <c:pt idx="2">
                  <c:v>Hawaiian Tropic</c:v>
                </c:pt>
                <c:pt idx="3">
                  <c:v>Isdin</c:v>
                </c:pt>
                <c:pt idx="4">
                  <c:v>Others Marca Unif.</c:v>
                </c:pt>
                <c:pt idx="5">
                  <c:v>Nuvel</c:v>
                </c:pt>
                <c:pt idx="6">
                  <c:v>L'Oreal: All Others</c:v>
                </c:pt>
                <c:pt idx="7">
                  <c:v>Eucerin</c:v>
                </c:pt>
                <c:pt idx="8">
                  <c:v>La Roche-Posay</c:v>
                </c:pt>
              </c:strCache>
            </c:strRef>
          </c:cat>
          <c:val>
            <c:numRef>
              <c:f>Sheet1!$C$2:$C$10</c:f>
              <c:numCache>
                <c:formatCode>General</c:formatCode>
                <c:ptCount val="9"/>
                <c:pt idx="0">
                  <c:v>244.79490000000001</c:v>
                </c:pt>
                <c:pt idx="1">
                  <c:v>304.42950000000002</c:v>
                </c:pt>
                <c:pt idx="4">
                  <c:v>104.7420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vea</c:v>
                </c:pt>
                <c:pt idx="1">
                  <c:v>Neutrogena</c:v>
                </c:pt>
                <c:pt idx="2">
                  <c:v>Hawaiian Tropic</c:v>
                </c:pt>
                <c:pt idx="3">
                  <c:v>Isdin</c:v>
                </c:pt>
                <c:pt idx="4">
                  <c:v>Others Marca Unif.</c:v>
                </c:pt>
                <c:pt idx="5">
                  <c:v>Nuvel</c:v>
                </c:pt>
                <c:pt idx="6">
                  <c:v>L'Oreal: All Others</c:v>
                </c:pt>
                <c:pt idx="7">
                  <c:v>Eucerin</c:v>
                </c:pt>
                <c:pt idx="8">
                  <c:v>La Roche-Posay</c:v>
                </c:pt>
              </c:strCache>
            </c:strRef>
          </c:cat>
          <c:val>
            <c:numRef>
              <c:f>Sheet1!$D$2:$D$10</c:f>
              <c:numCache>
                <c:formatCode>General</c:formatCode>
                <c:ptCount val="9"/>
                <c:pt idx="2">
                  <c:v>261.4062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vea</c:v>
                </c:pt>
                <c:pt idx="1">
                  <c:v>Neutrogena</c:v>
                </c:pt>
                <c:pt idx="2">
                  <c:v>Hawaiian Tropic</c:v>
                </c:pt>
                <c:pt idx="3">
                  <c:v>Isdin</c:v>
                </c:pt>
                <c:pt idx="4">
                  <c:v>Others Marca Unif.</c:v>
                </c:pt>
                <c:pt idx="5">
                  <c:v>Nuvel</c:v>
                </c:pt>
                <c:pt idx="6">
                  <c:v>L'Oreal: All Others</c:v>
                </c:pt>
                <c:pt idx="7">
                  <c:v>Eucerin</c:v>
                </c:pt>
                <c:pt idx="8">
                  <c:v>La Roche-Posay</c:v>
                </c:pt>
              </c:strCache>
            </c:strRef>
          </c:cat>
          <c:val>
            <c:numRef>
              <c:f>Sheet1!$E$2:$E$10</c:f>
              <c:numCache>
                <c:formatCode>General</c:formatCode>
                <c:ptCount val="9"/>
                <c:pt idx="0">
                  <c:v>247.34119999999999</c:v>
                </c:pt>
                <c:pt idx="1">
                  <c:v>306.64359999999999</c:v>
                </c:pt>
                <c:pt idx="6">
                  <c:v>185.826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vea</c:v>
                </c:pt>
                <c:pt idx="1">
                  <c:v>Neutrogena</c:v>
                </c:pt>
                <c:pt idx="2">
                  <c:v>Hawaiian Tropic</c:v>
                </c:pt>
                <c:pt idx="3">
                  <c:v>Isdin</c:v>
                </c:pt>
                <c:pt idx="4">
                  <c:v>Others Marca Unif.</c:v>
                </c:pt>
                <c:pt idx="5">
                  <c:v>Nuvel</c:v>
                </c:pt>
                <c:pt idx="6">
                  <c:v>L'Oreal: All Others</c:v>
                </c:pt>
                <c:pt idx="7">
                  <c:v>Eucerin</c:v>
                </c:pt>
                <c:pt idx="8">
                  <c:v>La Roche-Posay</c:v>
                </c:pt>
              </c:strCache>
            </c:strRef>
          </c:cat>
          <c:val>
            <c:numRef>
              <c:f>Sheet1!$F$2:$F$10</c:f>
              <c:numCache>
                <c:formatCode>General</c:formatCode>
                <c:ptCount val="9"/>
                <c:pt idx="0">
                  <c:v>231.72989999999999</c:v>
                </c:pt>
                <c:pt idx="3">
                  <c:v>583.22159999999997</c:v>
                </c:pt>
                <c:pt idx="7">
                  <c:v>590.68790000000001</c:v>
                </c:pt>
                <c:pt idx="8">
                  <c:v>608.7546999999999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cat>
            <c:strRef>
              <c:f>Sheet1!$A$2:$A$2</c:f>
              <c:strCache>
                <c:ptCount val="1"/>
                <c:pt idx="0">
                  <c:v>Nivea</c:v>
                </c:pt>
              </c:strCache>
            </c:strRef>
          </c:cat>
          <c:val>
            <c:numRef>
              <c:f>Sheet1!$B$2:$B$2</c:f>
              <c:numCache>
                <c:formatCode>General</c:formatCode>
                <c:ptCount val="1"/>
                <c:pt idx="0">
                  <c:v>175.09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Nivea</c:v>
                </c:pt>
              </c:strCache>
            </c:strRef>
          </c:cat>
          <c:val>
            <c:numRef>
              <c:f>Sheet1!$C$2:$C$2</c:f>
              <c:numCache>
                <c:formatCode>General</c:formatCode>
                <c:ptCount val="1"/>
                <c:pt idx="0">
                  <c:v>257.5373000000000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44F243-3734-4362-8730-2FA0168F9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0E9EB8-A2C1-4718-B479-A161A9AB4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EE38CD-5C16-4338-82BB-2D5F7337E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6E83F5-649D-4CDE-95BA-C8F82A0BA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2C89FFF-E49B-4626-B67C-1CEA0E0E6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8C22CC1-B65A-4EA9-B072-5C306E5FC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7824ED2-41E4-4CD7-A551-E02FA5CF4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35DBE81-C1E5-4B40-8981-C15B23989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33.94550000000001</c:v>
                </c:pt>
                <c:pt idx="1">
                  <c:v>242.26339999999999</c:v>
                </c:pt>
                <c:pt idx="2">
                  <c:v>210.5241</c:v>
                </c:pt>
                <c:pt idx="3">
                  <c:v>685.87379999999996</c:v>
                </c:pt>
              </c:numCache>
            </c:numRef>
          </c:xVal>
          <c:yVal>
            <c:numRef>
              <c:f>Sheet1!$B$2:$B$5</c:f>
              <c:numCache>
                <c:formatCode>General</c:formatCode>
                <c:ptCount val="4"/>
                <c:pt idx="0">
                  <c:v>0.95699999999999996</c:v>
                </c:pt>
                <c:pt idx="1">
                  <c:v>1.175</c:v>
                </c:pt>
                <c:pt idx="2">
                  <c:v>0.84699999999999998</c:v>
                </c:pt>
                <c:pt idx="3">
                  <c:v>3.5230000000000001</c:v>
                </c:pt>
              </c:numCache>
            </c:numRef>
          </c:yVal>
          <c:bubbleSize>
            <c:numRef>
              <c:f>Sheet1!$C$2:$C$5</c:f>
              <c:numCache>
                <c:formatCode>General</c:formatCode>
                <c:ptCount val="4"/>
                <c:pt idx="0">
                  <c:v>1245526</c:v>
                </c:pt>
                <c:pt idx="1">
                  <c:v>462723</c:v>
                </c:pt>
                <c:pt idx="2">
                  <c:v>414943</c:v>
                </c:pt>
                <c:pt idx="3">
                  <c:v>70645</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3"/>
          <c:min val="1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cat>
            <c:strRef>
              <c:f>Sheet1!$A$2:$A$2</c:f>
              <c:strCache>
                <c:ptCount val="1"/>
                <c:pt idx="0">
                  <c:v>Photoderm</c:v>
                </c:pt>
              </c:strCache>
            </c:strRef>
          </c:cat>
          <c:val>
            <c:numRef>
              <c:f>Sheet1!$B$2:$B$2</c:f>
              <c:numCache>
                <c:formatCode>General</c:formatCode>
                <c:ptCount val="1"/>
                <c:pt idx="0">
                  <c:v>567.20190000000002</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Photoderm</c:v>
                </c:pt>
              </c:strCache>
            </c:strRef>
          </c:cat>
          <c:val>
            <c:numRef>
              <c:f>Sheet1!$B$2:$B$3</c:f>
              <c:numCache>
                <c:formatCode>General</c:formatCode>
                <c:ptCount val="2"/>
                <c:pt idx="0">
                  <c:v>243.3535</c:v>
                </c:pt>
                <c:pt idx="1">
                  <c:v>369.1292000000000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Neutrogena</c:v>
                </c:pt>
                <c:pt idx="2">
                  <c:v>Hawaiian Tropic</c:v>
                </c:pt>
                <c:pt idx="3">
                  <c:v>Isdin</c:v>
                </c:pt>
                <c:pt idx="4">
                  <c:v>Nuvel</c:v>
                </c:pt>
                <c:pt idx="5">
                  <c:v>L'Oreal: All Others</c:v>
                </c:pt>
                <c:pt idx="6">
                  <c:v>Eucerin</c:v>
                </c:pt>
              </c:strCache>
            </c:strRef>
          </c:cat>
          <c:val>
            <c:numRef>
              <c:f>Sheet1!$B$2:$B$8</c:f>
              <c:numCache>
                <c:formatCode>General</c:formatCode>
                <c:ptCount val="7"/>
                <c:pt idx="1">
                  <c:v>227.1893</c:v>
                </c:pt>
                <c:pt idx="2">
                  <c:v>183.53290000000001</c:v>
                </c:pt>
                <c:pt idx="4">
                  <c:v>74.7125999999999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Neutrogena</c:v>
                </c:pt>
                <c:pt idx="2">
                  <c:v>Hawaiian Tropic</c:v>
                </c:pt>
                <c:pt idx="3">
                  <c:v>Isdin</c:v>
                </c:pt>
                <c:pt idx="4">
                  <c:v>Nuvel</c:v>
                </c:pt>
                <c:pt idx="5">
                  <c:v>L'Oreal: All Others</c:v>
                </c:pt>
                <c:pt idx="6">
                  <c:v>Eucerin</c:v>
                </c:pt>
              </c:strCache>
            </c:strRef>
          </c:cat>
          <c:val>
            <c:numRef>
              <c:f>Sheet1!$C$2:$C$8</c:f>
              <c:numCache>
                <c:formatCode>General</c:formatCode>
                <c:ptCount val="7"/>
                <c:pt idx="0">
                  <c:v>245.9983</c:v>
                </c:pt>
                <c:pt idx="1">
                  <c:v>302.36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Neutrogena</c:v>
                </c:pt>
                <c:pt idx="2">
                  <c:v>Hawaiian Tropic</c:v>
                </c:pt>
                <c:pt idx="3">
                  <c:v>Isdin</c:v>
                </c:pt>
                <c:pt idx="4">
                  <c:v>Nuvel</c:v>
                </c:pt>
                <c:pt idx="5">
                  <c:v>L'Oreal: All Others</c:v>
                </c:pt>
                <c:pt idx="6">
                  <c:v>Eucerin</c:v>
                </c:pt>
              </c:strCache>
            </c:strRef>
          </c:cat>
          <c:val>
            <c:numRef>
              <c:f>Sheet1!$D$2:$D$8</c:f>
              <c:numCache>
                <c:formatCode>General</c:formatCode>
                <c:ptCount val="7"/>
                <c:pt idx="2">
                  <c:v>26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Neutrogena</c:v>
                </c:pt>
                <c:pt idx="2">
                  <c:v>Hawaiian Tropic</c:v>
                </c:pt>
                <c:pt idx="3">
                  <c:v>Isdin</c:v>
                </c:pt>
                <c:pt idx="4">
                  <c:v>Nuvel</c:v>
                </c:pt>
                <c:pt idx="5">
                  <c:v>L'Oreal: All Others</c:v>
                </c:pt>
                <c:pt idx="6">
                  <c:v>Eucerin</c:v>
                </c:pt>
              </c:strCache>
            </c:strRef>
          </c:cat>
          <c:val>
            <c:numRef>
              <c:f>Sheet1!$E$2:$E$8</c:f>
              <c:numCache>
                <c:formatCode>General</c:formatCode>
                <c:ptCount val="7"/>
                <c:pt idx="0">
                  <c:v>246.83160000000001</c:v>
                </c:pt>
                <c:pt idx="1">
                  <c:v>304.11840000000001</c:v>
                </c:pt>
                <c:pt idx="5">
                  <c:v>185.5064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Neutrogena</c:v>
                </c:pt>
                <c:pt idx="2">
                  <c:v>Hawaiian Tropic</c:v>
                </c:pt>
                <c:pt idx="3">
                  <c:v>Isdin</c:v>
                </c:pt>
                <c:pt idx="4">
                  <c:v>Nuvel</c:v>
                </c:pt>
                <c:pt idx="5">
                  <c:v>L'Oreal: All Others</c:v>
                </c:pt>
                <c:pt idx="6">
                  <c:v>Eucerin</c:v>
                </c:pt>
              </c:strCache>
            </c:strRef>
          </c:cat>
          <c:val>
            <c:numRef>
              <c:f>Sheet1!$F$2:$F$8</c:f>
              <c:numCache>
                <c:formatCode>General</c:formatCode>
                <c:ptCount val="7"/>
                <c:pt idx="0">
                  <c:v>229.9332</c:v>
                </c:pt>
                <c:pt idx="3">
                  <c:v>605.11030000000005</c:v>
                </c:pt>
                <c:pt idx="6">
                  <c:v>587.202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cat>
            <c:strRef>
              <c:f>Sheet1!$A$2:$A$2</c:f>
              <c:strCache>
                <c:ptCount val="1"/>
                <c:pt idx="0">
                  <c:v>Nivea</c:v>
                </c:pt>
              </c:strCache>
            </c:strRef>
          </c:cat>
          <c:val>
            <c:numRef>
              <c:f>Sheet1!$B$2:$B$2</c:f>
              <c:numCache>
                <c:formatCode>General</c:formatCode>
                <c:ptCount val="1"/>
                <c:pt idx="0">
                  <c:v>176.555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Nivea</c:v>
                </c:pt>
              </c:strCache>
            </c:strRef>
          </c:cat>
          <c:val>
            <c:numRef>
              <c:f>Sheet1!$C$2:$C$2</c:f>
              <c:numCache>
                <c:formatCode>General</c:formatCode>
                <c:ptCount val="1"/>
                <c:pt idx="0">
                  <c:v>257.2509999999999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cat>
            <c:strRef>
              <c:f>Sheet1!$A$2:$A$2</c:f>
              <c:strCache>
                <c:ptCount val="1"/>
                <c:pt idx="0">
                  <c:v>Nivea</c:v>
                </c:pt>
              </c:strCache>
            </c:strRef>
          </c:cat>
          <c:val>
            <c:numRef>
              <c:f>Sheet1!$B$2:$B$2</c:f>
              <c:numCache>
                <c:formatCode>General</c:formatCode>
                <c:ptCount val="1"/>
                <c:pt idx="0">
                  <c:v>258.364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Nivea</c:v>
                </c:pt>
              </c:strCache>
            </c:strRef>
          </c:cat>
          <c:val>
            <c:numRef>
              <c:f>Sheet1!$C$2:$C$2</c:f>
              <c:numCache>
                <c:formatCode>General</c:formatCode>
                <c:ptCount val="1"/>
                <c:pt idx="0">
                  <c:v>258.5659999999999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77ML</c:v>
                </c:pt>
              </c:strCache>
            </c:strRef>
          </c:tx>
          <c:spPr>
            <a:ln w="19050">
              <a:noFill/>
            </a:ln>
          </c:spPr>
          <c:marker>
            <c:symbol val="dash"/>
            <c:size val="20"/>
            <c:spPr>
              <a:solidFill>
                <a:srgbClr val="FFE5E5"/>
              </a:solidFill>
              <a:ln w="9525">
                <a:noFill/>
              </a:ln>
              <a:effectLst/>
            </c:spPr>
          </c:marker>
          <c:cat>
            <c:strRef>
              <c:f>Sheet1!$A$2:$A$2</c:f>
              <c:strCache>
                <c:ptCount val="1"/>
                <c:pt idx="0">
                  <c:v>Others Marca Unif.</c:v>
                </c:pt>
              </c:strCache>
            </c:strRef>
          </c:cat>
          <c:val>
            <c:numRef>
              <c:f>Sheet1!$B$2:$B$2</c:f>
              <c:numCache>
                <c:formatCode>General</c:formatCode>
                <c:ptCount val="1"/>
                <c:pt idx="0">
                  <c:v>163.4945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Isdin</c:v>
                </c:pt>
                <c:pt idx="2">
                  <c:v>Neutrogena</c:v>
                </c:pt>
                <c:pt idx="3">
                  <c:v>Hawaiian Tropic</c:v>
                </c:pt>
                <c:pt idx="4">
                  <c:v>Others Marca Unif.</c:v>
                </c:pt>
                <c:pt idx="5">
                  <c:v>La Roche-Posay</c:v>
                </c:pt>
                <c:pt idx="6">
                  <c:v>Eucerin</c:v>
                </c:pt>
                <c:pt idx="7">
                  <c:v>L'Oreal: All Others</c:v>
                </c:pt>
              </c:strCache>
            </c:strRef>
          </c:cat>
          <c:val>
            <c:numRef>
              <c:f>Sheet1!$B$2:$B$9</c:f>
              <c:numCache>
                <c:formatCode>General</c:formatCode>
                <c:ptCount val="8"/>
                <c:pt idx="2">
                  <c:v>220.24449999999999</c:v>
                </c:pt>
                <c:pt idx="3">
                  <c:v>176.9395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Neutrogena</c:v>
                </c:pt>
                <c:pt idx="3">
                  <c:v>Hawaiian Tropic</c:v>
                </c:pt>
                <c:pt idx="4">
                  <c:v>Others Marca Unif.</c:v>
                </c:pt>
                <c:pt idx="5">
                  <c:v>La Roche-Posay</c:v>
                </c:pt>
                <c:pt idx="6">
                  <c:v>Eucerin</c:v>
                </c:pt>
                <c:pt idx="7">
                  <c:v>L'Oreal: All Others</c:v>
                </c:pt>
              </c:strCache>
            </c:strRef>
          </c:cat>
          <c:val>
            <c:numRef>
              <c:f>Sheet1!$C$2:$C$9</c:f>
              <c:numCache>
                <c:formatCode>General</c:formatCode>
                <c:ptCount val="8"/>
                <c:pt idx="0">
                  <c:v>247.52799999999999</c:v>
                </c:pt>
                <c:pt idx="2">
                  <c:v>311.43340000000001</c:v>
                </c:pt>
                <c:pt idx="4">
                  <c:v>112.96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Neutrogena</c:v>
                </c:pt>
                <c:pt idx="3">
                  <c:v>Hawaiian Tropic</c:v>
                </c:pt>
                <c:pt idx="4">
                  <c:v>Others Marca Unif.</c:v>
                </c:pt>
                <c:pt idx="5">
                  <c:v>La Roche-Posay</c:v>
                </c:pt>
                <c:pt idx="6">
                  <c:v>Eucerin</c:v>
                </c:pt>
                <c:pt idx="7">
                  <c:v>L'Oreal: All Others</c:v>
                </c:pt>
              </c:strCache>
            </c:strRef>
          </c:cat>
          <c:val>
            <c:numRef>
              <c:f>Sheet1!$D$2:$D$9</c:f>
              <c:numCache>
                <c:formatCode>General</c:formatCode>
                <c:ptCount val="8"/>
                <c:pt idx="3">
                  <c:v>257.4655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Neutrogena</c:v>
                </c:pt>
                <c:pt idx="3">
                  <c:v>Hawaiian Tropic</c:v>
                </c:pt>
                <c:pt idx="4">
                  <c:v>Others Marca Unif.</c:v>
                </c:pt>
                <c:pt idx="5">
                  <c:v>La Roche-Posay</c:v>
                </c:pt>
                <c:pt idx="6">
                  <c:v>Eucerin</c:v>
                </c:pt>
                <c:pt idx="7">
                  <c:v>L'Oreal: All Others</c:v>
                </c:pt>
              </c:strCache>
            </c:strRef>
          </c:cat>
          <c:val>
            <c:numRef>
              <c:f>Sheet1!$E$2:$E$9</c:f>
              <c:numCache>
                <c:formatCode>General</c:formatCode>
                <c:ptCount val="8"/>
                <c:pt idx="0">
                  <c:v>246.97309999999999</c:v>
                </c:pt>
                <c:pt idx="2">
                  <c:v>306.8261</c:v>
                </c:pt>
                <c:pt idx="7">
                  <c:v>183.7591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Neutrogena</c:v>
                </c:pt>
                <c:pt idx="3">
                  <c:v>Hawaiian Tropic</c:v>
                </c:pt>
                <c:pt idx="4">
                  <c:v>Others Marca Unif.</c:v>
                </c:pt>
                <c:pt idx="5">
                  <c:v>La Roche-Posay</c:v>
                </c:pt>
                <c:pt idx="6">
                  <c:v>Eucerin</c:v>
                </c:pt>
                <c:pt idx="7">
                  <c:v>L'Oreal: All Others</c:v>
                </c:pt>
              </c:strCache>
            </c:strRef>
          </c:cat>
          <c:val>
            <c:numRef>
              <c:f>Sheet1!$F$2:$F$9</c:f>
              <c:numCache>
                <c:formatCode>General</c:formatCode>
                <c:ptCount val="8"/>
                <c:pt idx="0">
                  <c:v>234.99590000000001</c:v>
                </c:pt>
                <c:pt idx="1">
                  <c:v>557.1028</c:v>
                </c:pt>
                <c:pt idx="5">
                  <c:v>604.8152</c:v>
                </c:pt>
                <c:pt idx="6">
                  <c:v>587.770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L'Oreal: All Others</c:v>
                </c:pt>
                <c:pt idx="2">
                  <c:v>La Roche-Posay</c:v>
                </c:pt>
              </c:strCache>
            </c:strRef>
          </c:cat>
          <c:val>
            <c:numRef>
              <c:f>Sheet1!$B$2:$B$4</c:f>
              <c:numCache>
                <c:formatCode>General</c:formatCode>
                <c:ptCount val="3"/>
                <c:pt idx="0">
                  <c:v>174.9781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L'Oreal: All Others</c:v>
                </c:pt>
                <c:pt idx="2">
                  <c:v>La Roche-Posay</c:v>
                </c:pt>
              </c:strCache>
            </c:strRef>
          </c:cat>
          <c:val>
            <c:numRef>
              <c:f>Sheet1!$C$2:$C$4</c:f>
              <c:numCache>
                <c:formatCode>General</c:formatCode>
                <c:ptCount val="3"/>
                <c:pt idx="0">
                  <c:v>256.932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L'Oreal: All Others</c:v>
                </c:pt>
                <c:pt idx="2">
                  <c:v>La Roche-Posay</c:v>
                </c:pt>
              </c:strCache>
            </c:strRef>
          </c:cat>
          <c:val>
            <c:numRef>
              <c:f>Sheet1!$D$2:$D$4</c:f>
              <c:numCache>
                <c:formatCode>General</c:formatCode>
                <c:ptCount val="3"/>
                <c:pt idx="1">
                  <c:v>254.67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L'Oreal: All Others</c:v>
                </c:pt>
                <c:pt idx="2">
                  <c:v>La Roche-Posay</c:v>
                </c:pt>
              </c:strCache>
            </c:strRef>
          </c:cat>
          <c:val>
            <c:numRef>
              <c:f>Sheet1!$E$2:$E$4</c:f>
              <c:numCache>
                <c:formatCode>General</c:formatCode>
                <c:ptCount val="3"/>
                <c:pt idx="2">
                  <c:v>548.0109999999999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Photoderm</c:v>
                </c:pt>
              </c:strCache>
            </c:strRef>
          </c:cat>
          <c:val>
            <c:numRef>
              <c:f>Sheet1!$B$2:$B$3</c:f>
              <c:numCache>
                <c:formatCode>General</c:formatCode>
                <c:ptCount val="2"/>
                <c:pt idx="0">
                  <c:v>257.7812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Nivea</c:v>
                </c:pt>
                <c:pt idx="1">
                  <c:v>Photoderm</c:v>
                </c:pt>
              </c:strCache>
            </c:strRef>
          </c:cat>
          <c:val>
            <c:numRef>
              <c:f>Sheet1!$C$2:$C$3</c:f>
              <c:numCache>
                <c:formatCode>General</c:formatCode>
                <c:ptCount val="2"/>
                <c:pt idx="0">
                  <c:v>262.4125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ML</c:v>
                </c:pt>
              </c:strCache>
            </c:strRef>
          </c:tx>
          <c:spPr>
            <a:ln w="19050">
              <a:noFill/>
            </a:ln>
          </c:spPr>
          <c:marker>
            <c:symbol val="dash"/>
            <c:size val="20"/>
            <c:spPr>
              <a:solidFill>
                <a:srgbClr val="CC66FF"/>
              </a:solidFill>
              <a:ln w="9525">
                <a:noFill/>
              </a:ln>
              <a:effectLst/>
            </c:spPr>
          </c:marker>
          <c:cat>
            <c:strRef>
              <c:f>Sheet1!$A$2:$A$3</c:f>
              <c:strCache>
                <c:ptCount val="2"/>
                <c:pt idx="0">
                  <c:v>Nivea</c:v>
                </c:pt>
                <c:pt idx="1">
                  <c:v>Photoderm</c:v>
                </c:pt>
              </c:strCache>
            </c:strRef>
          </c:cat>
          <c:val>
            <c:numRef>
              <c:f>Sheet1!$D$2:$D$3</c:f>
              <c:numCache>
                <c:formatCode>General</c:formatCode>
                <c:ptCount val="2"/>
                <c:pt idx="1">
                  <c:v>484.1768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cat>
            <c:strRef>
              <c:f>Sheet1!$A$2:$A$2</c:f>
              <c:strCache>
                <c:ptCount val="1"/>
                <c:pt idx="0">
                  <c:v>Photoderm</c:v>
                </c:pt>
              </c:strCache>
            </c:strRef>
          </c:cat>
          <c:val>
            <c:numRef>
              <c:f>Sheet1!$B$2:$B$2</c:f>
              <c:numCache>
                <c:formatCode>General</c:formatCode>
                <c:ptCount val="1"/>
                <c:pt idx="0">
                  <c:v>362.66230000000002</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72AD33-E012-4778-BB8C-E3D0EBF9A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E3FBB6-03F1-4794-ABE1-2FFD54DEE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2591E2-B5B5-429F-9052-0E57C2D09F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F1B27A-E28C-476B-8C16-FDDD99CB2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D6877CE-04D5-481D-A239-87D974499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0AB2161-38A6-45B5-B838-3100C1FC7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74C229B-E326-4D0F-80EB-396661755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B239478-393F-418C-97E5-2EAC09916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26.7676</c:v>
                </c:pt>
                <c:pt idx="1">
                  <c:v>148.6302</c:v>
                </c:pt>
                <c:pt idx="2">
                  <c:v>108.1014</c:v>
                </c:pt>
                <c:pt idx="3">
                  <c:v>409.27170000000001</c:v>
                </c:pt>
              </c:numCache>
            </c:numRef>
          </c:xVal>
          <c:yVal>
            <c:numRef>
              <c:f>Sheet1!$B$2:$B$5</c:f>
              <c:numCache>
                <c:formatCode>General</c:formatCode>
                <c:ptCount val="4"/>
                <c:pt idx="0">
                  <c:v>0.91900000000000004</c:v>
                </c:pt>
                <c:pt idx="1">
                  <c:v>1.1910000000000001</c:v>
                </c:pt>
                <c:pt idx="2">
                  <c:v>1.0309999999999999</c:v>
                </c:pt>
                <c:pt idx="3">
                  <c:v>4.7830000000000004</c:v>
                </c:pt>
              </c:numCache>
            </c:numRef>
          </c:yVal>
          <c:bubbleSize>
            <c:numRef>
              <c:f>Sheet1!$C$2:$C$5</c:f>
              <c:numCache>
                <c:formatCode>General</c:formatCode>
                <c:ptCount val="4"/>
                <c:pt idx="0">
                  <c:v>933136</c:v>
                </c:pt>
                <c:pt idx="1">
                  <c:v>673146</c:v>
                </c:pt>
                <c:pt idx="2">
                  <c:v>500077</c:v>
                </c:pt>
                <c:pt idx="3">
                  <c:v>37653</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Nivea</c:v>
                  </c:pt>
                  <c:pt idx="3">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1"/>
          <c:min val="8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Vichy</c:v>
                </c:pt>
              </c:strCache>
            </c:strRef>
          </c:cat>
          <c:val>
            <c:numRef>
              <c:f>Sheet1!$B$2:$B$3</c:f>
              <c:numCache>
                <c:formatCode>General</c:formatCode>
                <c:ptCount val="2"/>
                <c:pt idx="0">
                  <c:v>566.35270000000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7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Vichy</c:v>
                </c:pt>
              </c:strCache>
            </c:strRef>
          </c:cat>
          <c:val>
            <c:numRef>
              <c:f>Sheet1!$C$2:$C$3</c:f>
              <c:numCache>
                <c:formatCode>General</c:formatCode>
                <c:ptCount val="2"/>
                <c:pt idx="0">
                  <c:v>163.2769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cat>
            <c:strRef>
              <c:f>Sheet1!$A$2:$A$3</c:f>
              <c:strCache>
                <c:ptCount val="2"/>
                <c:pt idx="0">
                  <c:v>Others Marca Unif.</c:v>
                </c:pt>
                <c:pt idx="1">
                  <c:v>Vichy</c:v>
                </c:pt>
              </c:strCache>
            </c:strRef>
          </c:cat>
          <c:val>
            <c:numRef>
              <c:f>Sheet1!$D$2:$D$3</c:f>
              <c:numCache>
                <c:formatCode>General</c:formatCode>
                <c:ptCount val="2"/>
                <c:pt idx="1">
                  <c:v>670.1105999999999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Neutrogena</c:v>
                </c:pt>
                <c:pt idx="2">
                  <c:v>Others Marca Unif.</c:v>
                </c:pt>
                <c:pt idx="3">
                  <c:v>Inds.Lavin De Mexico: All Others</c:v>
                </c:pt>
                <c:pt idx="4">
                  <c:v>Nuvel</c:v>
                </c:pt>
                <c:pt idx="5">
                  <c:v>L'Oreal: All Others</c:v>
                </c:pt>
                <c:pt idx="6">
                  <c:v>Isdin</c:v>
                </c:pt>
              </c:strCache>
            </c:strRef>
          </c:cat>
          <c:val>
            <c:numRef>
              <c:f>Sheet1!$B$2:$B$8</c:f>
              <c:numCache>
                <c:formatCode>General</c:formatCode>
                <c:ptCount val="7"/>
                <c:pt idx="1">
                  <c:v>223.2473</c:v>
                </c:pt>
                <c:pt idx="4">
                  <c:v>73.7171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Neutrogena</c:v>
                </c:pt>
                <c:pt idx="2">
                  <c:v>Others Marca Unif.</c:v>
                </c:pt>
                <c:pt idx="3">
                  <c:v>Inds.Lavin De Mexico: All Others</c:v>
                </c:pt>
                <c:pt idx="4">
                  <c:v>Nuvel</c:v>
                </c:pt>
                <c:pt idx="5">
                  <c:v>L'Oreal: All Others</c:v>
                </c:pt>
                <c:pt idx="6">
                  <c:v>Isdin</c:v>
                </c:pt>
              </c:strCache>
            </c:strRef>
          </c:cat>
          <c:val>
            <c:numRef>
              <c:f>Sheet1!$C$2:$C$8</c:f>
              <c:numCache>
                <c:formatCode>General</c:formatCode>
                <c:ptCount val="7"/>
                <c:pt idx="3">
                  <c:v>90.2907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Neutrogena</c:v>
                </c:pt>
                <c:pt idx="2">
                  <c:v>Others Marca Unif.</c:v>
                </c:pt>
                <c:pt idx="3">
                  <c:v>Inds.Lavin De Mexico: All Others</c:v>
                </c:pt>
                <c:pt idx="4">
                  <c:v>Nuvel</c:v>
                </c:pt>
                <c:pt idx="5">
                  <c:v>L'Oreal: All Others</c:v>
                </c:pt>
                <c:pt idx="6">
                  <c:v>Isdin</c:v>
                </c:pt>
              </c:strCache>
            </c:strRef>
          </c:cat>
          <c:val>
            <c:numRef>
              <c:f>Sheet1!$D$2:$D$8</c:f>
              <c:numCache>
                <c:formatCode>General</c:formatCode>
                <c:ptCount val="7"/>
                <c:pt idx="2">
                  <c:v>182.532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Neutrogena</c:v>
                </c:pt>
                <c:pt idx="2">
                  <c:v>Others Marca Unif.</c:v>
                </c:pt>
                <c:pt idx="3">
                  <c:v>Inds.Lavin De Mexico: All Others</c:v>
                </c:pt>
                <c:pt idx="4">
                  <c:v>Nuvel</c:v>
                </c:pt>
                <c:pt idx="5">
                  <c:v>L'Oreal: All Others</c:v>
                </c:pt>
                <c:pt idx="6">
                  <c:v>Isdin</c:v>
                </c:pt>
              </c:strCache>
            </c:strRef>
          </c:cat>
          <c:val>
            <c:numRef>
              <c:f>Sheet1!$E$2:$E$8</c:f>
              <c:numCache>
                <c:formatCode>General</c:formatCode>
                <c:ptCount val="7"/>
                <c:pt idx="0">
                  <c:v>237.6001</c:v>
                </c:pt>
                <c:pt idx="1">
                  <c:v>282.89609999999999</c:v>
                </c:pt>
                <c:pt idx="2">
                  <c:v>91.399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Neutrogena</c:v>
                </c:pt>
                <c:pt idx="2">
                  <c:v>Others Marca Unif.</c:v>
                </c:pt>
                <c:pt idx="3">
                  <c:v>Inds.Lavin De Mexico: All Others</c:v>
                </c:pt>
                <c:pt idx="4">
                  <c:v>Nuvel</c:v>
                </c:pt>
                <c:pt idx="5">
                  <c:v>L'Oreal: All Others</c:v>
                </c:pt>
                <c:pt idx="6">
                  <c:v>Isdin</c:v>
                </c:pt>
              </c:strCache>
            </c:strRef>
          </c:cat>
          <c:val>
            <c:numRef>
              <c:f>Sheet1!$F$2:$F$8</c:f>
              <c:numCache>
                <c:formatCode>General</c:formatCode>
                <c:ptCount val="7"/>
                <c:pt idx="0">
                  <c:v>248.7004</c:v>
                </c:pt>
                <c:pt idx="1">
                  <c:v>308.70659999999998</c:v>
                </c:pt>
                <c:pt idx="5">
                  <c:v>190.6211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Neutrogena</c:v>
                </c:pt>
                <c:pt idx="2">
                  <c:v>Others Marca Unif.</c:v>
                </c:pt>
                <c:pt idx="3">
                  <c:v>Inds.Lavin De Mexico: All Others</c:v>
                </c:pt>
                <c:pt idx="4">
                  <c:v>Nuvel</c:v>
                </c:pt>
                <c:pt idx="5">
                  <c:v>L'Oreal: All Others</c:v>
                </c:pt>
                <c:pt idx="6">
                  <c:v>Isdin</c:v>
                </c:pt>
              </c:strCache>
            </c:strRef>
          </c:cat>
          <c:val>
            <c:numRef>
              <c:f>Sheet1!$G$2:$G$8</c:f>
              <c:numCache>
                <c:formatCode>General</c:formatCode>
                <c:ptCount val="7"/>
                <c:pt idx="0">
                  <c:v>227.93119999999999</c:v>
                </c:pt>
                <c:pt idx="6">
                  <c:v>609.8011000000000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Others Marca Unif.</c:v>
                </c:pt>
              </c:strCache>
            </c:strRef>
          </c:cat>
          <c:val>
            <c:numRef>
              <c:f>Sheet1!$B$2:$B$3</c:f>
              <c:numCache>
                <c:formatCode>General</c:formatCode>
                <c:ptCount val="2"/>
                <c:pt idx="0">
                  <c:v>180.23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6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Nivea</c:v>
                </c:pt>
                <c:pt idx="1">
                  <c:v>Others Marca Unif.</c:v>
                </c:pt>
              </c:strCache>
            </c:strRef>
          </c:cat>
          <c:val>
            <c:numRef>
              <c:f>Sheet1!$C$2:$C$3</c:f>
              <c:numCache>
                <c:formatCode>General</c:formatCode>
                <c:ptCount val="2"/>
                <c:pt idx="1">
                  <c:v>167.6014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cat>
            <c:strRef>
              <c:f>Sheet1!$A$2:$A$3</c:f>
              <c:strCache>
                <c:ptCount val="2"/>
                <c:pt idx="0">
                  <c:v>Nivea</c:v>
                </c:pt>
                <c:pt idx="1">
                  <c:v>Others Marca Unif.</c:v>
                </c:pt>
              </c:strCache>
            </c:strRef>
          </c:cat>
          <c:val>
            <c:numRef>
              <c:f>Sheet1!$D$2:$D$3</c:f>
              <c:numCache>
                <c:formatCode>General</c:formatCode>
                <c:ptCount val="2"/>
                <c:pt idx="0">
                  <c:v>250.81549999999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Neutrogena</c:v>
                </c:pt>
                <c:pt idx="2">
                  <c:v>Hawaiian Tropic</c:v>
                </c:pt>
                <c:pt idx="3">
                  <c:v>Isdin</c:v>
                </c:pt>
                <c:pt idx="4">
                  <c:v>Nuvel</c:v>
                </c:pt>
                <c:pt idx="5">
                  <c:v>Others Marca Unif.</c:v>
                </c:pt>
                <c:pt idx="6">
                  <c:v>L'Oreal: All Others</c:v>
                </c:pt>
                <c:pt idx="7">
                  <c:v>Eucerin</c:v>
                </c:pt>
              </c:strCache>
            </c:strRef>
          </c:cat>
          <c:val>
            <c:numRef>
              <c:f>Sheet1!$B$2:$B$9</c:f>
              <c:numCache>
                <c:formatCode>General</c:formatCode>
                <c:ptCount val="8"/>
                <c:pt idx="1">
                  <c:v>226.3991</c:v>
                </c:pt>
                <c:pt idx="2">
                  <c:v>180.46680000000001</c:v>
                </c:pt>
                <c:pt idx="4">
                  <c:v>74.4418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Neutrogena</c:v>
                </c:pt>
                <c:pt idx="2">
                  <c:v>Hawaiian Tropic</c:v>
                </c:pt>
                <c:pt idx="3">
                  <c:v>Isdin</c:v>
                </c:pt>
                <c:pt idx="4">
                  <c:v>Nuvel</c:v>
                </c:pt>
                <c:pt idx="5">
                  <c:v>Others Marca Unif.</c:v>
                </c:pt>
                <c:pt idx="6">
                  <c:v>L'Oreal: All Others</c:v>
                </c:pt>
                <c:pt idx="7">
                  <c:v>Eucerin</c:v>
                </c:pt>
              </c:strCache>
            </c:strRef>
          </c:cat>
          <c:val>
            <c:numRef>
              <c:f>Sheet1!$C$2:$C$9</c:f>
              <c:numCache>
                <c:formatCode>General</c:formatCode>
                <c:ptCount val="8"/>
                <c:pt idx="0">
                  <c:v>245.642</c:v>
                </c:pt>
                <c:pt idx="1">
                  <c:v>305.26330000000002</c:v>
                </c:pt>
                <c:pt idx="5">
                  <c:v>102.95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Neutrogena</c:v>
                </c:pt>
                <c:pt idx="2">
                  <c:v>Hawaiian Tropic</c:v>
                </c:pt>
                <c:pt idx="3">
                  <c:v>Isdin</c:v>
                </c:pt>
                <c:pt idx="4">
                  <c:v>Nuvel</c:v>
                </c:pt>
                <c:pt idx="5">
                  <c:v>Others Marca Unif.</c:v>
                </c:pt>
                <c:pt idx="6">
                  <c:v>L'Oreal: All Others</c:v>
                </c:pt>
                <c:pt idx="7">
                  <c:v>Eucerin</c:v>
                </c:pt>
              </c:strCache>
            </c:strRef>
          </c:cat>
          <c:val>
            <c:numRef>
              <c:f>Sheet1!$D$2:$D$9</c:f>
              <c:numCache>
                <c:formatCode>General</c:formatCode>
                <c:ptCount val="8"/>
                <c:pt idx="2">
                  <c:v>256.9791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Neutrogena</c:v>
                </c:pt>
                <c:pt idx="2">
                  <c:v>Hawaiian Tropic</c:v>
                </c:pt>
                <c:pt idx="3">
                  <c:v>Isdin</c:v>
                </c:pt>
                <c:pt idx="4">
                  <c:v>Nuvel</c:v>
                </c:pt>
                <c:pt idx="5">
                  <c:v>Others Marca Unif.</c:v>
                </c:pt>
                <c:pt idx="6">
                  <c:v>L'Oreal: All Others</c:v>
                </c:pt>
                <c:pt idx="7">
                  <c:v>Eucerin</c:v>
                </c:pt>
              </c:strCache>
            </c:strRef>
          </c:cat>
          <c:val>
            <c:numRef>
              <c:f>Sheet1!$E$2:$E$9</c:f>
              <c:numCache>
                <c:formatCode>General</c:formatCode>
                <c:ptCount val="8"/>
                <c:pt idx="0">
                  <c:v>246.5608</c:v>
                </c:pt>
                <c:pt idx="1">
                  <c:v>304.52179999999998</c:v>
                </c:pt>
                <c:pt idx="6">
                  <c:v>185.74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Neutrogena</c:v>
                </c:pt>
                <c:pt idx="2">
                  <c:v>Hawaiian Tropic</c:v>
                </c:pt>
                <c:pt idx="3">
                  <c:v>Isdin</c:v>
                </c:pt>
                <c:pt idx="4">
                  <c:v>Nuvel</c:v>
                </c:pt>
                <c:pt idx="5">
                  <c:v>Others Marca Unif.</c:v>
                </c:pt>
                <c:pt idx="6">
                  <c:v>L'Oreal: All Others</c:v>
                </c:pt>
                <c:pt idx="7">
                  <c:v>Eucerin</c:v>
                </c:pt>
              </c:strCache>
            </c:strRef>
          </c:cat>
          <c:val>
            <c:numRef>
              <c:f>Sheet1!$F$2:$F$9</c:f>
              <c:numCache>
                <c:formatCode>General</c:formatCode>
                <c:ptCount val="8"/>
                <c:pt idx="0">
                  <c:v>229.56639999999999</c:v>
                </c:pt>
                <c:pt idx="3">
                  <c:v>601.13319999999999</c:v>
                </c:pt>
                <c:pt idx="7">
                  <c:v>606.1882000000000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cat>
            <c:strRef>
              <c:f>Sheet1!$A$2:$A$2</c:f>
              <c:strCache>
                <c:ptCount val="1"/>
                <c:pt idx="0">
                  <c:v>Nivea</c:v>
                </c:pt>
              </c:strCache>
            </c:strRef>
          </c:cat>
          <c:val>
            <c:numRef>
              <c:f>Sheet1!$B$2:$B$2</c:f>
              <c:numCache>
                <c:formatCode>General</c:formatCode>
                <c:ptCount val="1"/>
                <c:pt idx="0">
                  <c:v>176.1552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Nivea</c:v>
                </c:pt>
              </c:strCache>
            </c:strRef>
          </c:cat>
          <c:val>
            <c:numRef>
              <c:f>Sheet1!$C$2:$C$2</c:f>
              <c:numCache>
                <c:formatCode>General</c:formatCode>
                <c:ptCount val="1"/>
                <c:pt idx="0">
                  <c:v>257.2108999999999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cat>
            <c:strRef>
              <c:f>Sheet1!$A$2:$A$2</c:f>
              <c:strCache>
                <c:ptCount val="1"/>
                <c:pt idx="0">
                  <c:v>Photoderm</c:v>
                </c:pt>
              </c:strCache>
            </c:strRef>
          </c:cat>
          <c:val>
            <c:numRef>
              <c:f>Sheet1!$B$2:$B$2</c:f>
              <c:numCache>
                <c:formatCode>General</c:formatCode>
                <c:ptCount val="1"/>
                <c:pt idx="0">
                  <c:v>636.5479000000000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cat>
            <c:strRef>
              <c:f>Sheet1!$A$2:$A$2</c:f>
              <c:strCache>
                <c:ptCount val="1"/>
                <c:pt idx="0">
                  <c:v>Others Marca Unif.</c:v>
                </c:pt>
              </c:strCache>
            </c:strRef>
          </c:cat>
          <c:val>
            <c:numRef>
              <c:f>Sheet1!$B$2:$B$2</c:f>
              <c:numCache>
                <c:formatCode>General</c:formatCode>
                <c:ptCount val="1"/>
                <c:pt idx="0">
                  <c:v>618.9080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7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Others Marca Unif.</c:v>
                </c:pt>
              </c:strCache>
            </c:strRef>
          </c:cat>
          <c:val>
            <c:numRef>
              <c:f>Sheet1!$C$2:$C$2</c:f>
              <c:numCache>
                <c:formatCode>General</c:formatCode>
                <c:ptCount val="1"/>
                <c:pt idx="0">
                  <c:v>158.0922999999999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vea</c:v>
                </c:pt>
                <c:pt idx="1">
                  <c:v>Neutrogena</c:v>
                </c:pt>
                <c:pt idx="2">
                  <c:v>Hawaiian Tropic</c:v>
                </c:pt>
                <c:pt idx="3">
                  <c:v>Isdin</c:v>
                </c:pt>
                <c:pt idx="4">
                  <c:v>Others Marca Unif.</c:v>
                </c:pt>
                <c:pt idx="5">
                  <c:v>Nuvel</c:v>
                </c:pt>
                <c:pt idx="6">
                  <c:v>L'Oreal: All Others</c:v>
                </c:pt>
                <c:pt idx="7">
                  <c:v>Eucerin</c:v>
                </c:pt>
                <c:pt idx="8">
                  <c:v>La Roche-Posay</c:v>
                </c:pt>
              </c:strCache>
            </c:strRef>
          </c:cat>
          <c:val>
            <c:numRef>
              <c:f>Sheet1!$B$2:$B$10</c:f>
              <c:numCache>
                <c:formatCode>General</c:formatCode>
                <c:ptCount val="9"/>
                <c:pt idx="1">
                  <c:v>226.57079999999999</c:v>
                </c:pt>
                <c:pt idx="2">
                  <c:v>180.37430000000001</c:v>
                </c:pt>
                <c:pt idx="5">
                  <c:v>74.8204000000000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vea</c:v>
                </c:pt>
                <c:pt idx="1">
                  <c:v>Neutrogena</c:v>
                </c:pt>
                <c:pt idx="2">
                  <c:v>Hawaiian Tropic</c:v>
                </c:pt>
                <c:pt idx="3">
                  <c:v>Isdin</c:v>
                </c:pt>
                <c:pt idx="4">
                  <c:v>Others Marca Unif.</c:v>
                </c:pt>
                <c:pt idx="5">
                  <c:v>Nuvel</c:v>
                </c:pt>
                <c:pt idx="6">
                  <c:v>L'Oreal: All Others</c:v>
                </c:pt>
                <c:pt idx="7">
                  <c:v>Eucerin</c:v>
                </c:pt>
                <c:pt idx="8">
                  <c:v>La Roche-Posay</c:v>
                </c:pt>
              </c:strCache>
            </c:strRef>
          </c:cat>
          <c:val>
            <c:numRef>
              <c:f>Sheet1!$C$2:$C$10</c:f>
              <c:numCache>
                <c:formatCode>General</c:formatCode>
                <c:ptCount val="9"/>
                <c:pt idx="0">
                  <c:v>245.7885</c:v>
                </c:pt>
                <c:pt idx="1">
                  <c:v>312.6696</c:v>
                </c:pt>
                <c:pt idx="4">
                  <c:v>108.1282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vea</c:v>
                </c:pt>
                <c:pt idx="1">
                  <c:v>Neutrogena</c:v>
                </c:pt>
                <c:pt idx="2">
                  <c:v>Hawaiian Tropic</c:v>
                </c:pt>
                <c:pt idx="3">
                  <c:v>Isdin</c:v>
                </c:pt>
                <c:pt idx="4">
                  <c:v>Others Marca Unif.</c:v>
                </c:pt>
                <c:pt idx="5">
                  <c:v>Nuvel</c:v>
                </c:pt>
                <c:pt idx="6">
                  <c:v>L'Oreal: All Others</c:v>
                </c:pt>
                <c:pt idx="7">
                  <c:v>Eucerin</c:v>
                </c:pt>
                <c:pt idx="8">
                  <c:v>La Roche-Posay</c:v>
                </c:pt>
              </c:strCache>
            </c:strRef>
          </c:cat>
          <c:val>
            <c:numRef>
              <c:f>Sheet1!$D$2:$D$10</c:f>
              <c:numCache>
                <c:formatCode>General</c:formatCode>
                <c:ptCount val="9"/>
                <c:pt idx="2">
                  <c:v>267.3553999999999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vea</c:v>
                </c:pt>
                <c:pt idx="1">
                  <c:v>Neutrogena</c:v>
                </c:pt>
                <c:pt idx="2">
                  <c:v>Hawaiian Tropic</c:v>
                </c:pt>
                <c:pt idx="3">
                  <c:v>Isdin</c:v>
                </c:pt>
                <c:pt idx="4">
                  <c:v>Others Marca Unif.</c:v>
                </c:pt>
                <c:pt idx="5">
                  <c:v>Nuvel</c:v>
                </c:pt>
                <c:pt idx="6">
                  <c:v>L'Oreal: All Others</c:v>
                </c:pt>
                <c:pt idx="7">
                  <c:v>Eucerin</c:v>
                </c:pt>
                <c:pt idx="8">
                  <c:v>La Roche-Posay</c:v>
                </c:pt>
              </c:strCache>
            </c:strRef>
          </c:cat>
          <c:val>
            <c:numRef>
              <c:f>Sheet1!$E$2:$E$10</c:f>
              <c:numCache>
                <c:formatCode>General</c:formatCode>
                <c:ptCount val="9"/>
                <c:pt idx="0">
                  <c:v>246.86420000000001</c:v>
                </c:pt>
                <c:pt idx="1">
                  <c:v>309.59649999999999</c:v>
                </c:pt>
                <c:pt idx="6">
                  <c:v>188.9858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vea</c:v>
                </c:pt>
                <c:pt idx="1">
                  <c:v>Neutrogena</c:v>
                </c:pt>
                <c:pt idx="2">
                  <c:v>Hawaiian Tropic</c:v>
                </c:pt>
                <c:pt idx="3">
                  <c:v>Isdin</c:v>
                </c:pt>
                <c:pt idx="4">
                  <c:v>Others Marca Unif.</c:v>
                </c:pt>
                <c:pt idx="5">
                  <c:v>Nuvel</c:v>
                </c:pt>
                <c:pt idx="6">
                  <c:v>L'Oreal: All Others</c:v>
                </c:pt>
                <c:pt idx="7">
                  <c:v>Eucerin</c:v>
                </c:pt>
                <c:pt idx="8">
                  <c:v>La Roche-Posay</c:v>
                </c:pt>
              </c:strCache>
            </c:strRef>
          </c:cat>
          <c:val>
            <c:numRef>
              <c:f>Sheet1!$F$2:$F$10</c:f>
              <c:numCache>
                <c:formatCode>General</c:formatCode>
                <c:ptCount val="9"/>
                <c:pt idx="0">
                  <c:v>234.66229999999999</c:v>
                </c:pt>
                <c:pt idx="3">
                  <c:v>592.28729999999996</c:v>
                </c:pt>
                <c:pt idx="7">
                  <c:v>593.23940000000005</c:v>
                </c:pt>
                <c:pt idx="8">
                  <c:v>616.5607999999999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cat>
            <c:strRef>
              <c:f>Sheet1!$A$2:$A$2</c:f>
              <c:strCache>
                <c:ptCount val="1"/>
                <c:pt idx="0">
                  <c:v>Nivea</c:v>
                </c:pt>
              </c:strCache>
            </c:strRef>
          </c:cat>
          <c:val>
            <c:numRef>
              <c:f>Sheet1!$B$2:$B$2</c:f>
              <c:numCache>
                <c:formatCode>General</c:formatCode>
                <c:ptCount val="1"/>
                <c:pt idx="0">
                  <c:v>177.10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Nivea</c:v>
                </c:pt>
              </c:strCache>
            </c:strRef>
          </c:cat>
          <c:val>
            <c:numRef>
              <c:f>Sheet1!$C$2:$C$2</c:f>
              <c:numCache>
                <c:formatCode>General</c:formatCode>
                <c:ptCount val="1"/>
                <c:pt idx="0">
                  <c:v>262.3561000000000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Photoderm</c:v>
                </c:pt>
              </c:strCache>
            </c:strRef>
          </c:cat>
          <c:val>
            <c:numRef>
              <c:f>Sheet1!$B$2:$B$3</c:f>
              <c:numCache>
                <c:formatCode>General</c:formatCode>
                <c:ptCount val="2"/>
                <c:pt idx="0">
                  <c:v>264.916999999999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Nivea</c:v>
                </c:pt>
                <c:pt idx="1">
                  <c:v>Photoderm</c:v>
                </c:pt>
              </c:strCache>
            </c:strRef>
          </c:cat>
          <c:val>
            <c:numRef>
              <c:f>Sheet1!$C$2:$C$3</c:f>
              <c:numCache>
                <c:formatCode>General</c:formatCode>
                <c:ptCount val="2"/>
                <c:pt idx="1">
                  <c:v>610.6857999999999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B828F7-1F7F-49BE-95AA-C121BE455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F5F51F-DCA4-4A9F-A16D-F906C74D4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E1490D-A54A-4B2B-A659-8D7EC001E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F39C09-1EB7-4C35-972A-AF470DB6D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2248F48-CF4C-431D-825B-867D1EF33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5B9C96E-A78E-4443-8B9C-53E92994B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AB04ED-841E-4284-8C18-97BE79D1E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C9AFEEF-5D45-48BF-A12E-B254ABDDC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1.2595</c:v>
                </c:pt>
                <c:pt idx="1">
                  <c:v>197.44280000000001</c:v>
                </c:pt>
                <c:pt idx="2">
                  <c:v>215.5523</c:v>
                </c:pt>
                <c:pt idx="3">
                  <c:v>289.48630000000003</c:v>
                </c:pt>
                <c:pt idx="4">
                  <c:v>591.12919999999997</c:v>
                </c:pt>
                <c:pt idx="5">
                  <c:v>84.318799999999996</c:v>
                </c:pt>
                <c:pt idx="6">
                  <c:v>567.71749999999997</c:v>
                </c:pt>
              </c:numCache>
            </c:numRef>
          </c:xVal>
          <c:yVal>
            <c:numRef>
              <c:f>Sheet1!$B$2:$B$8</c:f>
              <c:numCache>
                <c:formatCode>General</c:formatCode>
                <c:ptCount val="7"/>
                <c:pt idx="0">
                  <c:v>1.0369999999999999</c:v>
                </c:pt>
                <c:pt idx="1">
                  <c:v>0.745</c:v>
                </c:pt>
                <c:pt idx="2">
                  <c:v>0.69</c:v>
                </c:pt>
                <c:pt idx="3">
                  <c:v>2.0459999999999998</c:v>
                </c:pt>
                <c:pt idx="4">
                  <c:v>4.2460000000000004</c:v>
                </c:pt>
                <c:pt idx="5">
                  <c:v>0.40500000000000003</c:v>
                </c:pt>
                <c:pt idx="6">
                  <c:v>4.907</c:v>
                </c:pt>
              </c:numCache>
            </c:numRef>
          </c:yVal>
          <c:bubbleSize>
            <c:numRef>
              <c:f>Sheet1!$C$2:$C$8</c:f>
              <c:numCache>
                <c:formatCode>General</c:formatCode>
                <c:ptCount val="7"/>
                <c:pt idx="0">
                  <c:v>113249134</c:v>
                </c:pt>
                <c:pt idx="1">
                  <c:v>58289864</c:v>
                </c:pt>
                <c:pt idx="2">
                  <c:v>41961776</c:v>
                </c:pt>
                <c:pt idx="3">
                  <c:v>28274994</c:v>
                </c:pt>
                <c:pt idx="4">
                  <c:v>25478849</c:v>
                </c:pt>
                <c:pt idx="5">
                  <c:v>13081218</c:v>
                </c:pt>
                <c:pt idx="6">
                  <c:v>9442278</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823675-A0D1-4E89-9913-4CAB656AF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FAAEE3-8285-4FA6-B978-2B92DA6DF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F37FA8-3AFF-4CB1-B87A-0A55E43D4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F603DE0-3D2E-468F-95C6-3C9FCB286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6ADBD2-3CA0-4FEA-8374-5523C9FEE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02E646-03DC-4F42-BE74-172AC532E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956ABB0-E4DD-49A6-B984-AE68FD1E5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46A8AF1-55F6-4937-8D0C-6ADFD8814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1934</c:v>
                </c:pt>
                <c:pt idx="1">
                  <c:v>221.48009999999999</c:v>
                </c:pt>
                <c:pt idx="2">
                  <c:v>230.29810000000001</c:v>
                </c:pt>
                <c:pt idx="3">
                  <c:v>282.05270000000002</c:v>
                </c:pt>
                <c:pt idx="4">
                  <c:v>87.403199999999998</c:v>
                </c:pt>
                <c:pt idx="5">
                  <c:v>605.09690000000001</c:v>
                </c:pt>
              </c:numCache>
            </c:numRef>
          </c:xVal>
          <c:yVal>
            <c:numRef>
              <c:f>Sheet1!$B$2:$B$7</c:f>
              <c:numCache>
                <c:formatCode>General</c:formatCode>
                <c:ptCount val="6"/>
                <c:pt idx="0">
                  <c:v>1.129</c:v>
                </c:pt>
                <c:pt idx="1">
                  <c:v>0.85299999999999998</c:v>
                </c:pt>
                <c:pt idx="2">
                  <c:v>0.872</c:v>
                </c:pt>
                <c:pt idx="3">
                  <c:v>2.0840000000000001</c:v>
                </c:pt>
                <c:pt idx="4">
                  <c:v>0.47299999999999998</c:v>
                </c:pt>
                <c:pt idx="5">
                  <c:v>4.97</c:v>
                </c:pt>
              </c:numCache>
            </c:numRef>
          </c:yVal>
          <c:bubbleSize>
            <c:numRef>
              <c:f>Sheet1!$C$2:$C$7</c:f>
              <c:numCache>
                <c:formatCode>General</c:formatCode>
                <c:ptCount val="6"/>
                <c:pt idx="0">
                  <c:v>106919192</c:v>
                </c:pt>
                <c:pt idx="1">
                  <c:v>45886031</c:v>
                </c:pt>
                <c:pt idx="2">
                  <c:v>33832400</c:v>
                </c:pt>
                <c:pt idx="3">
                  <c:v>13126731</c:v>
                </c:pt>
                <c:pt idx="4">
                  <c:v>10154333</c:v>
                </c:pt>
                <c:pt idx="5">
                  <c:v>378609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Caribbean Beach</c:v>
                  </c:pt>
                  <c:pt idx="5">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Photoderm</c:v>
                </c:pt>
              </c:strCache>
            </c:strRef>
          </c:cat>
          <c:val>
            <c:numRef>
              <c:f>Sheet1!$B$2:$B$3</c:f>
              <c:numCache>
                <c:formatCode>General</c:formatCode>
                <c:ptCount val="2"/>
                <c:pt idx="0">
                  <c:v>243.0667</c:v>
                </c:pt>
                <c:pt idx="1">
                  <c:v>376.2389999999999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77ML</c:v>
                </c:pt>
              </c:strCache>
            </c:strRef>
          </c:tx>
          <c:spPr>
            <a:ln w="19050">
              <a:noFill/>
            </a:ln>
          </c:spPr>
          <c:marker>
            <c:symbol val="dash"/>
            <c:size val="20"/>
            <c:spPr>
              <a:solidFill>
                <a:srgbClr val="FFE5E5"/>
              </a:solidFill>
              <a:ln w="9525">
                <a:noFill/>
              </a:ln>
              <a:effectLst/>
            </c:spPr>
          </c:marker>
          <c:cat>
            <c:strRef>
              <c:f>Sheet1!$A$2:$A$2</c:f>
              <c:strCache>
                <c:ptCount val="1"/>
                <c:pt idx="0">
                  <c:v>Others Marca Unif.</c:v>
                </c:pt>
              </c:strCache>
            </c:strRef>
          </c:cat>
          <c:val>
            <c:numRef>
              <c:f>Sheet1!$B$2:$B$2</c:f>
              <c:numCache>
                <c:formatCode>General</c:formatCode>
                <c:ptCount val="1"/>
                <c:pt idx="0">
                  <c:v>154.5620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Hawaiian Tropic</c:v>
                </c:pt>
                <c:pt idx="2">
                  <c:v>Neutrogena</c:v>
                </c:pt>
                <c:pt idx="3">
                  <c:v>Others Marca Unif.</c:v>
                </c:pt>
                <c:pt idx="4">
                  <c:v>Isdin</c:v>
                </c:pt>
                <c:pt idx="5">
                  <c:v>L'Oreal: All Others</c:v>
                </c:pt>
                <c:pt idx="6">
                  <c:v>Nuvel</c:v>
                </c:pt>
                <c:pt idx="7">
                  <c:v>La Roche-Posay</c:v>
                </c:pt>
              </c:strCache>
            </c:strRef>
          </c:cat>
          <c:val>
            <c:numRef>
              <c:f>Sheet1!$B$2:$B$9</c:f>
              <c:numCache>
                <c:formatCode>General</c:formatCode>
                <c:ptCount val="8"/>
                <c:pt idx="2">
                  <c:v>221.26740000000001</c:v>
                </c:pt>
                <c:pt idx="6">
                  <c:v>73.0855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Hawaiian Tropic</c:v>
                </c:pt>
                <c:pt idx="2">
                  <c:v>Neutrogena</c:v>
                </c:pt>
                <c:pt idx="3">
                  <c:v>Others Marca Unif.</c:v>
                </c:pt>
                <c:pt idx="4">
                  <c:v>Isdin</c:v>
                </c:pt>
                <c:pt idx="5">
                  <c:v>L'Oreal: All Others</c:v>
                </c:pt>
                <c:pt idx="6">
                  <c:v>Nuvel</c:v>
                </c:pt>
                <c:pt idx="7">
                  <c:v>La Roche-Posay</c:v>
                </c:pt>
              </c:strCache>
            </c:strRef>
          </c:cat>
          <c:val>
            <c:numRef>
              <c:f>Sheet1!$C$2:$C$9</c:f>
              <c:numCache>
                <c:formatCode>General</c:formatCode>
                <c:ptCount val="8"/>
                <c:pt idx="3">
                  <c:v>122.81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Hawaiian Tropic</c:v>
                </c:pt>
                <c:pt idx="2">
                  <c:v>Neutrogena</c:v>
                </c:pt>
                <c:pt idx="3">
                  <c:v>Others Marca Unif.</c:v>
                </c:pt>
                <c:pt idx="4">
                  <c:v>Isdin</c:v>
                </c:pt>
                <c:pt idx="5">
                  <c:v>L'Oreal: All Others</c:v>
                </c:pt>
                <c:pt idx="6">
                  <c:v>Nuvel</c:v>
                </c:pt>
                <c:pt idx="7">
                  <c:v>La Roche-Posay</c:v>
                </c:pt>
              </c:strCache>
            </c:strRef>
          </c:cat>
          <c:val>
            <c:numRef>
              <c:f>Sheet1!$D$2:$D$9</c:f>
              <c:numCache>
                <c:formatCode>General</c:formatCode>
                <c:ptCount val="8"/>
                <c:pt idx="0">
                  <c:v>249.68770000000001</c:v>
                </c:pt>
                <c:pt idx="2">
                  <c:v>316.80950000000001</c:v>
                </c:pt>
                <c:pt idx="3">
                  <c:v>103.187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Hawaiian Tropic</c:v>
                </c:pt>
                <c:pt idx="2">
                  <c:v>Neutrogena</c:v>
                </c:pt>
                <c:pt idx="3">
                  <c:v>Others Marca Unif.</c:v>
                </c:pt>
                <c:pt idx="4">
                  <c:v>Isdin</c:v>
                </c:pt>
                <c:pt idx="5">
                  <c:v>L'Oreal: All Others</c:v>
                </c:pt>
                <c:pt idx="6">
                  <c:v>Nuvel</c:v>
                </c:pt>
                <c:pt idx="7">
                  <c:v>La Roche-Posay</c:v>
                </c:pt>
              </c:strCache>
            </c:strRef>
          </c:cat>
          <c:val>
            <c:numRef>
              <c:f>Sheet1!$E$2:$E$9</c:f>
              <c:numCache>
                <c:formatCode>General</c:formatCode>
                <c:ptCount val="8"/>
                <c:pt idx="1">
                  <c:v>266.2658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Hawaiian Tropic</c:v>
                </c:pt>
                <c:pt idx="2">
                  <c:v>Neutrogena</c:v>
                </c:pt>
                <c:pt idx="3">
                  <c:v>Others Marca Unif.</c:v>
                </c:pt>
                <c:pt idx="4">
                  <c:v>Isdin</c:v>
                </c:pt>
                <c:pt idx="5">
                  <c:v>L'Oreal: All Others</c:v>
                </c:pt>
                <c:pt idx="6">
                  <c:v>Nuvel</c:v>
                </c:pt>
                <c:pt idx="7">
                  <c:v>La Roche-Posay</c:v>
                </c:pt>
              </c:strCache>
            </c:strRef>
          </c:cat>
          <c:val>
            <c:numRef>
              <c:f>Sheet1!$F$2:$F$9</c:f>
              <c:numCache>
                <c:formatCode>General</c:formatCode>
                <c:ptCount val="8"/>
                <c:pt idx="0">
                  <c:v>248.5</c:v>
                </c:pt>
                <c:pt idx="2">
                  <c:v>309.9196</c:v>
                </c:pt>
                <c:pt idx="5">
                  <c:v>180.0954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Hawaiian Tropic</c:v>
                </c:pt>
                <c:pt idx="2">
                  <c:v>Neutrogena</c:v>
                </c:pt>
                <c:pt idx="3">
                  <c:v>Others Marca Unif.</c:v>
                </c:pt>
                <c:pt idx="4">
                  <c:v>Isdin</c:v>
                </c:pt>
                <c:pt idx="5">
                  <c:v>L'Oreal: All Others</c:v>
                </c:pt>
                <c:pt idx="6">
                  <c:v>Nuvel</c:v>
                </c:pt>
                <c:pt idx="7">
                  <c:v>La Roche-Posay</c:v>
                </c:pt>
              </c:strCache>
            </c:strRef>
          </c:cat>
          <c:val>
            <c:numRef>
              <c:f>Sheet1!$G$2:$G$9</c:f>
              <c:numCache>
                <c:formatCode>General</c:formatCode>
                <c:ptCount val="8"/>
                <c:pt idx="0">
                  <c:v>234.9486</c:v>
                </c:pt>
                <c:pt idx="4">
                  <c:v>614.81870000000004</c:v>
                </c:pt>
                <c:pt idx="7">
                  <c:v>552.2826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Hawaiian Tropic</c:v>
                </c:pt>
                <c:pt idx="2">
                  <c:v>Neutrogena</c:v>
                </c:pt>
                <c:pt idx="3">
                  <c:v>Others Marca Unif.</c:v>
                </c:pt>
                <c:pt idx="4">
                  <c:v>Isdin</c:v>
                </c:pt>
                <c:pt idx="5">
                  <c:v>L'Oreal: All Others</c:v>
                </c:pt>
                <c:pt idx="6">
                  <c:v>Nuvel</c:v>
                </c:pt>
                <c:pt idx="7">
                  <c:v>La Roche-Posay</c:v>
                </c:pt>
              </c:strCache>
            </c:strRef>
          </c:cat>
          <c:val>
            <c:numRef>
              <c:f>Sheet1!$H$2:$H$9</c:f>
              <c:numCache>
                <c:formatCode>General</c:formatCode>
                <c:ptCount val="8"/>
                <c:pt idx="3">
                  <c:v>102.393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cat>
            <c:strRef>
              <c:f>Sheet1!$A$2:$A$2</c:f>
              <c:strCache>
                <c:ptCount val="1"/>
                <c:pt idx="0">
                  <c:v>Nivea</c:v>
                </c:pt>
              </c:strCache>
            </c:strRef>
          </c:cat>
          <c:val>
            <c:numRef>
              <c:f>Sheet1!$B$2:$B$2</c:f>
              <c:numCache>
                <c:formatCode>General</c:formatCode>
                <c:ptCount val="1"/>
                <c:pt idx="0">
                  <c:v>166.53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Nivea</c:v>
                </c:pt>
              </c:strCache>
            </c:strRef>
          </c:cat>
          <c:val>
            <c:numRef>
              <c:f>Sheet1!$C$2:$C$2</c:f>
              <c:numCache>
                <c:formatCode>General</c:formatCode>
                <c:ptCount val="1"/>
                <c:pt idx="0">
                  <c:v>266.7799999999999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cat>
            <c:strRef>
              <c:f>Sheet1!$A$2:$A$2</c:f>
              <c:strCache>
                <c:ptCount val="1"/>
                <c:pt idx="0">
                  <c:v>Nivea</c:v>
                </c:pt>
              </c:strCache>
            </c:strRef>
          </c:cat>
          <c:val>
            <c:numRef>
              <c:f>Sheet1!$B$2:$B$2</c:f>
              <c:numCache>
                <c:formatCode>General</c:formatCode>
                <c:ptCount val="1"/>
                <c:pt idx="0">
                  <c:v>270.7844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Nivea</c:v>
                </c:pt>
              </c:strCache>
            </c:strRef>
          </c:cat>
          <c:val>
            <c:numRef>
              <c:f>Sheet1!$C$2:$C$2</c:f>
              <c:numCache>
                <c:formatCode>General</c:formatCode>
                <c:ptCount val="1"/>
                <c:pt idx="0">
                  <c:v>266.7542000000000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80AC07-5F23-4D9E-94FB-F2609C748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54CFDE-F97F-499E-B93E-C7BB3E655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93EC2D-3B2E-4707-8B93-A9B9E59A4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0C9C275-3EC9-460A-94D4-B290B28E5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8AFAEE-B736-4A04-B959-F9F3D3782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EF149E8-394B-4807-B3C7-655C71C3E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3456B1D-668B-442E-A355-8EAD28DF2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56FA33A-85AC-4C4E-8218-3E8B9168C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5.5805</c:v>
                </c:pt>
                <c:pt idx="1">
                  <c:v>634.89549999999997</c:v>
                </c:pt>
                <c:pt idx="2">
                  <c:v>638.57579999999996</c:v>
                </c:pt>
                <c:pt idx="3">
                  <c:v>39.879300000000001</c:v>
                </c:pt>
                <c:pt idx="4">
                  <c:v>585</c:v>
                </c:pt>
              </c:numCache>
            </c:numRef>
          </c:xVal>
          <c:yVal>
            <c:numRef>
              <c:f>Sheet1!$B$2:$B$6</c:f>
              <c:numCache>
                <c:formatCode>General</c:formatCode>
                <c:ptCount val="5"/>
                <c:pt idx="0">
                  <c:v>3.4609999999999999</c:v>
                </c:pt>
                <c:pt idx="1">
                  <c:v>3.8809999999999998</c:v>
                </c:pt>
                <c:pt idx="2">
                  <c:v>0</c:v>
                </c:pt>
                <c:pt idx="3">
                  <c:v>0.123</c:v>
                </c:pt>
                <c:pt idx="4">
                  <c:v>0</c:v>
                </c:pt>
              </c:numCache>
            </c:numRef>
          </c:yVal>
          <c:bubbleSize>
            <c:numRef>
              <c:f>Sheet1!$C$2:$C$6</c:f>
              <c:numCache>
                <c:formatCode>General</c:formatCode>
                <c:ptCount val="5"/>
                <c:pt idx="0">
                  <c:v>97549</c:v>
                </c:pt>
                <c:pt idx="1">
                  <c:v>85076</c:v>
                </c:pt>
                <c:pt idx="2">
                  <c:v>21073</c:v>
                </c:pt>
                <c:pt idx="3">
                  <c:v>11565</c:v>
                </c:pt>
                <c:pt idx="4">
                  <c:v>7020</c:v>
                </c:pt>
              </c:numCache>
            </c:numRef>
          </c:bubbleSize>
          <c:bubble3D val="0"/>
          <c:extLst>
            <c:ext xmlns:c15="http://schemas.microsoft.com/office/drawing/2012/chart" uri="{02D57815-91ED-43cb-92C2-25804820EDAC}">
              <c15:datalabelsRange>
                <c15:f>Sheet1!$E$2:$E$10</c15:f>
                <c15:dlblRangeCache>
                  <c:ptCount val="9"/>
                  <c:pt idx="0">
                    <c:v>Neutrogena</c:v>
                  </c:pt>
                  <c:pt idx="1">
                    <c:v>Eclipsol</c:v>
                  </c:pt>
                  <c:pt idx="2">
                    <c:v>Eucerin</c:v>
                  </c:pt>
                  <c:pt idx="3">
                    <c:v>Caribbean Beach</c:v>
                  </c:pt>
                  <c:pt idx="4">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6"/>
          <c:min val="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C1F50E-2206-4B44-AB03-AFAACD044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C6D46B-8B28-480F-A191-B44919455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CA5A4B-E6B1-4ACA-9E23-04F47AC63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5EA0826-3621-407D-97CC-AC7765C55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CBB0F89-5F30-4F3C-B60F-12285BB67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9513431-B128-4BB2-937D-9AE510970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9353858-3A77-4885-B45C-BD1C95A9C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DCEC409-397E-4FDD-ADB9-76E711903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70.00049999999999</c:v>
                </c:pt>
                <c:pt idx="1">
                  <c:v>242.67789999999999</c:v>
                </c:pt>
                <c:pt idx="2">
                  <c:v>243.4812</c:v>
                </c:pt>
                <c:pt idx="3">
                  <c:v>230.47839999999999</c:v>
                </c:pt>
              </c:numCache>
            </c:numRef>
          </c:xVal>
          <c:yVal>
            <c:numRef>
              <c:f>Sheet1!$B$2:$B$5</c:f>
              <c:numCache>
                <c:formatCode>General</c:formatCode>
                <c:ptCount val="4"/>
                <c:pt idx="0">
                  <c:v>0.96599999999999997</c:v>
                </c:pt>
                <c:pt idx="1">
                  <c:v>1.034</c:v>
                </c:pt>
                <c:pt idx="2">
                  <c:v>0.97899999999999998</c:v>
                </c:pt>
                <c:pt idx="3">
                  <c:v>0.82899999999999996</c:v>
                </c:pt>
              </c:numCache>
            </c:numRef>
          </c:yVal>
          <c:bubbleSize>
            <c:numRef>
              <c:f>Sheet1!$C$2:$C$5</c:f>
              <c:numCache>
                <c:formatCode>General</c:formatCode>
                <c:ptCount val="4"/>
                <c:pt idx="0">
                  <c:v>3012936</c:v>
                </c:pt>
                <c:pt idx="1">
                  <c:v>2876219</c:v>
                </c:pt>
                <c:pt idx="2">
                  <c:v>953229</c:v>
                </c:pt>
                <c:pt idx="3">
                  <c:v>293399</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Australian Gold</c:v>
                  </c:pt>
                  <c:pt idx="3">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
          <c:min val="18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654580-6E23-4936-BAD5-14C498F43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EF5EAD-A51E-4AF1-868F-2FE69311C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E57E59-DB52-42D0-877A-0D10896CE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65AF5D-3EF4-4BB7-9B5C-21274574D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EBA1E5-4A1E-406D-A26C-2B145725F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AF74D21-7906-4DAD-A55E-CE6D08672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8FDB7CB-12C8-459D-8924-77F8726F4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38C06A9-8374-4F7B-BB50-E2C905477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0.4076</c:v>
                </c:pt>
                <c:pt idx="1">
                  <c:v>131.8665</c:v>
                </c:pt>
                <c:pt idx="2">
                  <c:v>116.82640000000001</c:v>
                </c:pt>
                <c:pt idx="3">
                  <c:v>213.8289</c:v>
                </c:pt>
                <c:pt idx="4">
                  <c:v>53.390799999999999</c:v>
                </c:pt>
              </c:numCache>
            </c:numRef>
          </c:xVal>
          <c:yVal>
            <c:numRef>
              <c:f>Sheet1!$B$2:$B$6</c:f>
              <c:numCache>
                <c:formatCode>General</c:formatCode>
                <c:ptCount val="5"/>
                <c:pt idx="0">
                  <c:v>0.99399999999999999</c:v>
                </c:pt>
                <c:pt idx="1">
                  <c:v>0.67200000000000004</c:v>
                </c:pt>
                <c:pt idx="2">
                  <c:v>0.92800000000000005</c:v>
                </c:pt>
                <c:pt idx="3">
                  <c:v>1.472</c:v>
                </c:pt>
                <c:pt idx="4">
                  <c:v>0.35699999999999998</c:v>
                </c:pt>
              </c:numCache>
            </c:numRef>
          </c:yVal>
          <c:bubbleSize>
            <c:numRef>
              <c:f>Sheet1!$C$2:$C$6</c:f>
              <c:numCache>
                <c:formatCode>General</c:formatCode>
                <c:ptCount val="5"/>
                <c:pt idx="0">
                  <c:v>2871732</c:v>
                </c:pt>
                <c:pt idx="1">
                  <c:v>1293742</c:v>
                </c:pt>
                <c:pt idx="2">
                  <c:v>1124337</c:v>
                </c:pt>
                <c:pt idx="3">
                  <c:v>319888</c:v>
                </c:pt>
                <c:pt idx="4">
                  <c:v>131982</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Australian Gold</c:v>
                  </c:pt>
                  <c:pt idx="4">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
          <c:min val="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EB4971-F33D-4ABF-9A27-A6B50A22B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AE0D5F-6007-48BE-AF74-89EB9318D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35500A-EA3E-408D-B6AA-B4042983A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C873F6-A10D-4386-BB5A-43AFAB2F72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0868CE-7F8F-4772-A4EE-7AF3FFCA7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802E017-381B-4D75-B4F8-3B5B91543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BC31A9E-8512-4964-BE73-091102D15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C22F8D-91EF-4717-9E82-6F0D86FF3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63650000000001</c:v>
                </c:pt>
                <c:pt idx="1">
                  <c:v>210.92689999999999</c:v>
                </c:pt>
                <c:pt idx="2">
                  <c:v>229.2878</c:v>
                </c:pt>
                <c:pt idx="3">
                  <c:v>590.55079999999998</c:v>
                </c:pt>
                <c:pt idx="4">
                  <c:v>290.10489999999999</c:v>
                </c:pt>
                <c:pt idx="5">
                  <c:v>84.980599999999995</c:v>
                </c:pt>
                <c:pt idx="6">
                  <c:v>592.2799</c:v>
                </c:pt>
                <c:pt idx="7">
                  <c:v>586.80870000000004</c:v>
                </c:pt>
              </c:numCache>
            </c:numRef>
          </c:xVal>
          <c:yVal>
            <c:numRef>
              <c:f>Sheet1!$B$2:$B$9</c:f>
              <c:numCache>
                <c:formatCode>General</c:formatCode>
                <c:ptCount val="8"/>
                <c:pt idx="0">
                  <c:v>1.042</c:v>
                </c:pt>
                <c:pt idx="1">
                  <c:v>0.75700000000000001</c:v>
                </c:pt>
                <c:pt idx="2">
                  <c:v>0.748</c:v>
                </c:pt>
                <c:pt idx="3">
                  <c:v>3.9620000000000002</c:v>
                </c:pt>
                <c:pt idx="4">
                  <c:v>1.9990000000000001</c:v>
                </c:pt>
                <c:pt idx="5">
                  <c:v>0.438</c:v>
                </c:pt>
                <c:pt idx="6">
                  <c:v>5.0540000000000003</c:v>
                </c:pt>
                <c:pt idx="7">
                  <c:v>6.7220000000000004</c:v>
                </c:pt>
              </c:numCache>
            </c:numRef>
          </c:yVal>
          <c:bubbleSize>
            <c:numRef>
              <c:f>Sheet1!$C$2:$C$9</c:f>
              <c:numCache>
                <c:formatCode>General</c:formatCode>
                <c:ptCount val="8"/>
                <c:pt idx="0">
                  <c:v>88331422</c:v>
                </c:pt>
                <c:pt idx="1">
                  <c:v>38701083</c:v>
                </c:pt>
                <c:pt idx="2">
                  <c:v>30962337</c:v>
                </c:pt>
                <c:pt idx="3">
                  <c:v>17830499</c:v>
                </c:pt>
                <c:pt idx="4">
                  <c:v>16158843</c:v>
                </c:pt>
                <c:pt idx="5">
                  <c:v>12462149</c:v>
                </c:pt>
                <c:pt idx="6">
                  <c:v>6878146</c:v>
                </c:pt>
                <c:pt idx="7">
                  <c:v>6449028</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Eucerin</c:v>
                  </c:pt>
                  <c:pt idx="7">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FDB3A6-35F5-4B9D-991E-5F9430925E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8F4AE7-A6DD-44AA-894E-B74592A61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318127-9296-4126-A37C-40EA484F6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2CE22B-D9BA-43AA-A08B-1C45F4EFA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909BDE-0B5F-4934-BE00-A39B9D396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AC777C-8BE3-4086-9593-A52A7FBAE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A3A813D-E560-486B-832A-D331B2CD6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FF3346A-4263-4AFE-A09D-70A564771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462.58640000000003</c:v>
                </c:pt>
                <c:pt idx="1">
                  <c:v>311.35599999999999</c:v>
                </c:pt>
                <c:pt idx="2">
                  <c:v>358.88440000000003</c:v>
                </c:pt>
                <c:pt idx="3">
                  <c:v>451.27120000000002</c:v>
                </c:pt>
                <c:pt idx="4">
                  <c:v>534.23440000000005</c:v>
                </c:pt>
                <c:pt idx="5">
                  <c:v>180.78749999999999</c:v>
                </c:pt>
                <c:pt idx="6">
                  <c:v>325.45260000000002</c:v>
                </c:pt>
              </c:numCache>
            </c:numRef>
          </c:xVal>
          <c:yVal>
            <c:numRef>
              <c:f>Sheet1!$B$2:$B$8</c:f>
              <c:numCache>
                <c:formatCode>General</c:formatCode>
                <c:ptCount val="7"/>
                <c:pt idx="0">
                  <c:v>2.5329999999999999</c:v>
                </c:pt>
                <c:pt idx="1">
                  <c:v>2.9420000000000002</c:v>
                </c:pt>
                <c:pt idx="2">
                  <c:v>0.72199999999999998</c:v>
                </c:pt>
                <c:pt idx="3">
                  <c:v>1.0269999999999999</c:v>
                </c:pt>
                <c:pt idx="4">
                  <c:v>0.50900000000000001</c:v>
                </c:pt>
                <c:pt idx="5">
                  <c:v>0.88800000000000001</c:v>
                </c:pt>
                <c:pt idx="6">
                  <c:v>6.4080000000000004</c:v>
                </c:pt>
              </c:numCache>
            </c:numRef>
          </c:yVal>
          <c:bubbleSize>
            <c:numRef>
              <c:f>Sheet1!$C$2:$C$8</c:f>
              <c:numCache>
                <c:formatCode>General</c:formatCode>
                <c:ptCount val="7"/>
                <c:pt idx="0">
                  <c:v>522260</c:v>
                </c:pt>
                <c:pt idx="1">
                  <c:v>485404</c:v>
                </c:pt>
                <c:pt idx="2">
                  <c:v>276341</c:v>
                </c:pt>
                <c:pt idx="3">
                  <c:v>266250</c:v>
                </c:pt>
                <c:pt idx="4">
                  <c:v>180037</c:v>
                </c:pt>
                <c:pt idx="5">
                  <c:v>141195</c:v>
                </c:pt>
                <c:pt idx="6">
                  <c:v>75505</c:v>
                </c:pt>
              </c:numCache>
            </c:numRef>
          </c:bubbleSize>
          <c:bubble3D val="0"/>
          <c:extLst>
            <c:ext xmlns:c15="http://schemas.microsoft.com/office/drawing/2012/chart" uri="{02D57815-91ED-43cb-92C2-25804820EDAC}">
              <c15:datalabelsRange>
                <c15:f>Sheet1!$E$2:$E$10</c15:f>
                <c15:dlblRangeCache>
                  <c:ptCount val="9"/>
                  <c:pt idx="0">
                    <c:v>Avene</c:v>
                  </c:pt>
                  <c:pt idx="1">
                    <c:v>La Roche-Posay</c:v>
                  </c:pt>
                  <c:pt idx="2">
                    <c:v>Vichy</c:v>
                  </c:pt>
                  <c:pt idx="3">
                    <c:v>Eucerin</c:v>
                  </c:pt>
                  <c:pt idx="4">
                    <c:v>Eclipsol</c:v>
                  </c:pt>
                  <c:pt idx="5">
                    <c:v>Neutrogena</c:v>
                  </c:pt>
                  <c:pt idx="6">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41"/>
          <c:min val="14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30505E-08F8-4F5A-A8DA-10DA8A118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E42741-4689-408A-A131-DA5DCD310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5047F7-FF57-47DD-9695-084E1BF0D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0BEC4BB-1D71-4FC3-925C-CDD2F8B63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C83CC1-D648-4D7A-B22E-2FD6A8FAF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E6BFEEC-0FAD-457A-B8D8-ABB0CC537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2DEBA31-87B7-48CF-A0A4-BD87030DF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2D8A4A3-A27B-4201-BB6C-16723F4A9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3.81180000000001</c:v>
                </c:pt>
                <c:pt idx="1">
                  <c:v>242.9085</c:v>
                </c:pt>
                <c:pt idx="2">
                  <c:v>225.251</c:v>
                </c:pt>
                <c:pt idx="3">
                  <c:v>250.85740000000001</c:v>
                </c:pt>
                <c:pt idx="4">
                  <c:v>134.12180000000001</c:v>
                </c:pt>
              </c:numCache>
            </c:numRef>
          </c:xVal>
          <c:yVal>
            <c:numRef>
              <c:f>Sheet1!$B$2:$B$6</c:f>
              <c:numCache>
                <c:formatCode>General</c:formatCode>
                <c:ptCount val="5"/>
                <c:pt idx="0">
                  <c:v>0.996</c:v>
                </c:pt>
                <c:pt idx="1">
                  <c:v>1.1000000000000001</c:v>
                </c:pt>
                <c:pt idx="2">
                  <c:v>0.85199999999999998</c:v>
                </c:pt>
                <c:pt idx="3">
                  <c:v>1.1339999999999999</c:v>
                </c:pt>
                <c:pt idx="4">
                  <c:v>0.84799999999999998</c:v>
                </c:pt>
              </c:numCache>
            </c:numRef>
          </c:yVal>
          <c:bubbleSize>
            <c:numRef>
              <c:f>Sheet1!$C$2:$C$6</c:f>
              <c:numCache>
                <c:formatCode>General</c:formatCode>
                <c:ptCount val="5"/>
                <c:pt idx="0">
                  <c:v>2355576</c:v>
                </c:pt>
                <c:pt idx="1">
                  <c:v>1290330</c:v>
                </c:pt>
                <c:pt idx="2">
                  <c:v>439690</c:v>
                </c:pt>
                <c:pt idx="3">
                  <c:v>283218</c:v>
                </c:pt>
                <c:pt idx="4">
                  <c:v>93617</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Australian Gold</c:v>
                  </c:pt>
                  <c:pt idx="4">
                    <c:v>Cerap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7"/>
          <c:min val="10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B294AE-7F8D-424B-9797-0AE3B1005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60DB44-FE96-45F8-81B0-161B16F51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9AB061-84CD-4967-AEE2-9A9C0329B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73787F-BD7C-46E2-931B-EA77DB0E6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8DB39E-3C8F-4380-8A9D-46E3E6F2B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880E29B-3E2C-4FFE-A21B-0789B4771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4DA7F9D-617A-4784-BD91-C8D63F6D04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A397C11-7CD3-4E43-BC62-4DC128976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8.61539999999999</c:v>
                </c:pt>
                <c:pt idx="1">
                  <c:v>134.07570000000001</c:v>
                </c:pt>
                <c:pt idx="2">
                  <c:v>114.5124</c:v>
                </c:pt>
                <c:pt idx="3">
                  <c:v>233.68879999999999</c:v>
                </c:pt>
                <c:pt idx="4">
                  <c:v>46.746600000000001</c:v>
                </c:pt>
              </c:numCache>
            </c:numRef>
          </c:xVal>
          <c:yVal>
            <c:numRef>
              <c:f>Sheet1!$B$2:$B$6</c:f>
              <c:numCache>
                <c:formatCode>General</c:formatCode>
                <c:ptCount val="5"/>
                <c:pt idx="0">
                  <c:v>1.2569999999999999</c:v>
                </c:pt>
                <c:pt idx="1">
                  <c:v>0.77100000000000002</c:v>
                </c:pt>
                <c:pt idx="2">
                  <c:v>1.0209999999999999</c:v>
                </c:pt>
                <c:pt idx="3">
                  <c:v>2.2269999999999999</c:v>
                </c:pt>
                <c:pt idx="4">
                  <c:v>0.35399999999999998</c:v>
                </c:pt>
              </c:numCache>
            </c:numRef>
          </c:yVal>
          <c:bubbleSize>
            <c:numRef>
              <c:f>Sheet1!$C$2:$C$6</c:f>
              <c:numCache>
                <c:formatCode>General</c:formatCode>
                <c:ptCount val="5"/>
                <c:pt idx="0">
                  <c:v>1243201</c:v>
                </c:pt>
                <c:pt idx="1">
                  <c:v>1106527</c:v>
                </c:pt>
                <c:pt idx="2">
                  <c:v>647453</c:v>
                </c:pt>
                <c:pt idx="3">
                  <c:v>56319</c:v>
                </c:pt>
                <c:pt idx="4">
                  <c:v>44830</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Australian Gold</c:v>
                  </c:pt>
                  <c:pt idx="4">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0"/>
          <c:min val="3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80E2F9-3500-459B-8F24-43C47996A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379360-3CA5-4D91-ACB3-5FBDD0FAE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EED871-90EC-4D71-A096-25F772E54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96E544-9276-49DB-86BE-6434D1676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5355C31-B909-478E-A0DB-2D6E1597E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FF4F35D-99AE-4DDD-92AF-D6021D4B9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12BC2D-A517-4A62-A5CB-B25ED7C17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822172B-C705-4D3B-AD61-8690E903B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6.5461</c:v>
                </c:pt>
                <c:pt idx="1">
                  <c:v>216.7578</c:v>
                </c:pt>
                <c:pt idx="2">
                  <c:v>243.03550000000001</c:v>
                </c:pt>
                <c:pt idx="3">
                  <c:v>587.34699999999998</c:v>
                </c:pt>
                <c:pt idx="4">
                  <c:v>296.93049999999999</c:v>
                </c:pt>
                <c:pt idx="5">
                  <c:v>85.879499999999993</c:v>
                </c:pt>
                <c:pt idx="6">
                  <c:v>577.61429999999996</c:v>
                </c:pt>
              </c:numCache>
            </c:numRef>
          </c:xVal>
          <c:yVal>
            <c:numRef>
              <c:f>Sheet1!$B$2:$B$8</c:f>
              <c:numCache>
                <c:formatCode>General</c:formatCode>
                <c:ptCount val="7"/>
                <c:pt idx="0">
                  <c:v>1.06</c:v>
                </c:pt>
                <c:pt idx="1">
                  <c:v>0.78</c:v>
                </c:pt>
                <c:pt idx="2">
                  <c:v>0.79100000000000004</c:v>
                </c:pt>
                <c:pt idx="3">
                  <c:v>3.8940000000000001</c:v>
                </c:pt>
                <c:pt idx="4">
                  <c:v>2.1429999999999998</c:v>
                </c:pt>
                <c:pt idx="5">
                  <c:v>0.41099999999999998</c:v>
                </c:pt>
                <c:pt idx="6">
                  <c:v>6.2679999999999998</c:v>
                </c:pt>
              </c:numCache>
            </c:numRef>
          </c:yVal>
          <c:bubbleSize>
            <c:numRef>
              <c:f>Sheet1!$C$2:$C$8</c:f>
              <c:numCache>
                <c:formatCode>General</c:formatCode>
                <c:ptCount val="7"/>
                <c:pt idx="0">
                  <c:v>71214845</c:v>
                </c:pt>
                <c:pt idx="1">
                  <c:v>43615577</c:v>
                </c:pt>
                <c:pt idx="2">
                  <c:v>39255583</c:v>
                </c:pt>
                <c:pt idx="3">
                  <c:v>16648350</c:v>
                </c:pt>
                <c:pt idx="4">
                  <c:v>15380108</c:v>
                </c:pt>
                <c:pt idx="5">
                  <c:v>11365898</c:v>
                </c:pt>
                <c:pt idx="6">
                  <c:v>6503359</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
          <c:min val="6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1129E6-8834-40CC-AB2F-AB7529A5E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05B2BF-923A-479B-8F4D-75CB35F4C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BA1A82-D400-4777-AE52-409AA4067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9B7D53-4937-4F4B-8CDF-C2B10221B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B31B453-EB3D-4E0E-A63F-039B9DF94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968C8A-D55F-478C-9C14-704461445C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A79CFB-8035-4FA4-B802-93E7FEA2B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F8240D9-1A25-470B-ABD5-A113A39BF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12.9966</c:v>
                </c:pt>
                <c:pt idx="1">
                  <c:v>456.20460000000003</c:v>
                </c:pt>
                <c:pt idx="2">
                  <c:v>468.70490000000001</c:v>
                </c:pt>
                <c:pt idx="3">
                  <c:v>369.41070000000002</c:v>
                </c:pt>
                <c:pt idx="4">
                  <c:v>512.50450000000001</c:v>
                </c:pt>
                <c:pt idx="5">
                  <c:v>151.001</c:v>
                </c:pt>
                <c:pt idx="6">
                  <c:v>337.02379999999999</c:v>
                </c:pt>
              </c:numCache>
            </c:numRef>
          </c:xVal>
          <c:yVal>
            <c:numRef>
              <c:f>Sheet1!$B$2:$B$8</c:f>
              <c:numCache>
                <c:formatCode>General</c:formatCode>
                <c:ptCount val="7"/>
                <c:pt idx="0">
                  <c:v>2.093</c:v>
                </c:pt>
                <c:pt idx="1">
                  <c:v>1.7549999999999999</c:v>
                </c:pt>
                <c:pt idx="2">
                  <c:v>1.1859999999999999</c:v>
                </c:pt>
                <c:pt idx="3">
                  <c:v>0.61199999999999999</c:v>
                </c:pt>
                <c:pt idx="4">
                  <c:v>0.46700000000000003</c:v>
                </c:pt>
                <c:pt idx="5">
                  <c:v>0.71099999999999997</c:v>
                </c:pt>
                <c:pt idx="6">
                  <c:v>7.0460000000000003</c:v>
                </c:pt>
              </c:numCache>
            </c:numRef>
          </c:yVal>
          <c:bubbleSize>
            <c:numRef>
              <c:f>Sheet1!$C$2:$C$8</c:f>
              <c:numCache>
                <c:formatCode>General</c:formatCode>
                <c:ptCount val="7"/>
                <c:pt idx="0">
                  <c:v>731473</c:v>
                </c:pt>
                <c:pt idx="1">
                  <c:v>697993</c:v>
                </c:pt>
                <c:pt idx="2">
                  <c:v>343092</c:v>
                </c:pt>
                <c:pt idx="3">
                  <c:v>324712</c:v>
                </c:pt>
                <c:pt idx="4">
                  <c:v>171689</c:v>
                </c:pt>
                <c:pt idx="5">
                  <c:v>154323</c:v>
                </c:pt>
                <c:pt idx="6">
                  <c:v>84930</c:v>
                </c:pt>
              </c:numCache>
            </c:numRef>
          </c:bubbleSize>
          <c:bubble3D val="0"/>
          <c:extLst>
            <c:ext xmlns:c15="http://schemas.microsoft.com/office/drawing/2012/chart" uri="{02D57815-91ED-43cb-92C2-25804820EDAC}">
              <c15:datalabelsRange>
                <c15:f>Sheet1!$E$2:$E$10</c15:f>
                <c15:dlblRangeCache>
                  <c:ptCount val="9"/>
                  <c:pt idx="0">
                    <c:v>La Roche-Posay</c:v>
                  </c:pt>
                  <c:pt idx="1">
                    <c:v>Avene</c:v>
                  </c:pt>
                  <c:pt idx="2">
                    <c:v>Eucerin</c:v>
                  </c:pt>
                  <c:pt idx="3">
                    <c:v>Vichy</c:v>
                  </c:pt>
                  <c:pt idx="4">
                    <c:v>Eclipsol</c:v>
                  </c:pt>
                  <c:pt idx="5">
                    <c:v>Neutrogena</c:v>
                  </c:pt>
                  <c:pt idx="6">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15"/>
          <c:min val="1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AC99B1-AB3C-4665-BBA0-C112CD1F5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B6071B-4722-41FB-A6FD-3B4066E1B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6CE6B6-3574-466F-9E91-4A4694DEC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6DA01A-C383-4B88-B2B8-65DC5718E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A0EA9F-4C0F-4258-ABD5-FFF766B23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C59953-6413-4601-9382-1ED1F58522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15A94E-9E83-48AB-B163-A7EB9E243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9A98F9-AA5C-4975-9649-D7AFCA58D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697</c:v>
                </c:pt>
                <c:pt idx="1">
                  <c:v>552.87279999999998</c:v>
                </c:pt>
                <c:pt idx="2">
                  <c:v>195.15170000000001</c:v>
                </c:pt>
                <c:pt idx="3">
                  <c:v>200.31549999999999</c:v>
                </c:pt>
                <c:pt idx="4">
                  <c:v>467.46899999999999</c:v>
                </c:pt>
                <c:pt idx="5">
                  <c:v>291.7559</c:v>
                </c:pt>
                <c:pt idx="6">
                  <c:v>553.74220000000003</c:v>
                </c:pt>
                <c:pt idx="7">
                  <c:v>504.48970000000003</c:v>
                </c:pt>
              </c:numCache>
            </c:numRef>
          </c:xVal>
          <c:yVal>
            <c:numRef>
              <c:f>Sheet1!$B$2:$B$9</c:f>
              <c:numCache>
                <c:formatCode>General</c:formatCode>
                <c:ptCount val="8"/>
                <c:pt idx="0">
                  <c:v>0.88400000000000001</c:v>
                </c:pt>
                <c:pt idx="1">
                  <c:v>3.3940000000000001</c:v>
                </c:pt>
                <c:pt idx="2">
                  <c:v>0.58299999999999996</c:v>
                </c:pt>
                <c:pt idx="3">
                  <c:v>0.56999999999999995</c:v>
                </c:pt>
                <c:pt idx="4">
                  <c:v>4.6130000000000004</c:v>
                </c:pt>
                <c:pt idx="5">
                  <c:v>1.6870000000000001</c:v>
                </c:pt>
                <c:pt idx="6">
                  <c:v>3.766</c:v>
                </c:pt>
                <c:pt idx="7">
                  <c:v>3.347</c:v>
                </c:pt>
              </c:numCache>
            </c:numRef>
          </c:yVal>
          <c:bubbleSize>
            <c:numRef>
              <c:f>Sheet1!$C$2:$C$9</c:f>
              <c:numCache>
                <c:formatCode>General</c:formatCode>
                <c:ptCount val="8"/>
                <c:pt idx="0">
                  <c:v>77861555</c:v>
                </c:pt>
                <c:pt idx="1">
                  <c:v>38563986</c:v>
                </c:pt>
                <c:pt idx="2">
                  <c:v>34244636</c:v>
                </c:pt>
                <c:pt idx="3">
                  <c:v>32745172</c:v>
                </c:pt>
                <c:pt idx="4">
                  <c:v>25602342</c:v>
                </c:pt>
                <c:pt idx="5">
                  <c:v>19448156</c:v>
                </c:pt>
                <c:pt idx="6">
                  <c:v>14026291</c:v>
                </c:pt>
                <c:pt idx="7">
                  <c:v>13236800</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Banana Boat</c:v>
                  </c:pt>
                  <c:pt idx="4">
                    <c:v>La Roche-Posay</c:v>
                  </c:pt>
                  <c:pt idx="5">
                    <c:v>Neutrogena</c:v>
                  </c:pt>
                  <c:pt idx="6">
                    <c:v>Eucerin</c:v>
                  </c:pt>
                  <c:pt idx="7">
                    <c:v>Av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4"/>
          <c:min val="15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83CE24-D754-4321-A625-7B075BC8B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0ECC05-692B-4A31-821D-23077E64D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D22A7F-B6BD-41EE-8C96-A6F04445F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9ACBE6-AC8D-4A5C-864C-B00392130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9A6D98-25B7-460F-8E6B-65DDB3A16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2D5FAE7-D1E8-45D7-96E8-2E656B44B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9772D12-2E55-41AC-AFE0-BBFF74286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BC0CA6F-0341-4686-81C6-EFAB81DE9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8.98309999999998</c:v>
                </c:pt>
                <c:pt idx="1">
                  <c:v>249.02600000000001</c:v>
                </c:pt>
                <c:pt idx="2">
                  <c:v>224.2826</c:v>
                </c:pt>
                <c:pt idx="3">
                  <c:v>132.23079999999999</c:v>
                </c:pt>
                <c:pt idx="4">
                  <c:v>320.83780000000002</c:v>
                </c:pt>
              </c:numCache>
            </c:numRef>
          </c:xVal>
          <c:yVal>
            <c:numRef>
              <c:f>Sheet1!$B$2:$B$6</c:f>
              <c:numCache>
                <c:formatCode>General</c:formatCode>
                <c:ptCount val="5"/>
                <c:pt idx="0">
                  <c:v>1.0429999999999999</c:v>
                </c:pt>
                <c:pt idx="1">
                  <c:v>1.1499999999999999</c:v>
                </c:pt>
                <c:pt idx="2">
                  <c:v>0.86899999999999999</c:v>
                </c:pt>
                <c:pt idx="3">
                  <c:v>0.83499999999999996</c:v>
                </c:pt>
                <c:pt idx="4">
                  <c:v>1.2909999999999999</c:v>
                </c:pt>
              </c:numCache>
            </c:numRef>
          </c:yVal>
          <c:bubbleSize>
            <c:numRef>
              <c:f>Sheet1!$C$2:$C$6</c:f>
              <c:numCache>
                <c:formatCode>General</c:formatCode>
                <c:ptCount val="5"/>
                <c:pt idx="0">
                  <c:v>2737172</c:v>
                </c:pt>
                <c:pt idx="1">
                  <c:v>1255340</c:v>
                </c:pt>
                <c:pt idx="2">
                  <c:v>671502</c:v>
                </c:pt>
                <c:pt idx="3">
                  <c:v>179305</c:v>
                </c:pt>
                <c:pt idx="4">
                  <c:v>59355</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Cerapil</c:v>
                  </c:pt>
                  <c:pt idx="4">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85"/>
          <c:min val="10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F79717-69CC-4311-AED8-CA5A607CB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DDE199-049F-48D7-90E9-5F6E1123E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1B0078-0B3F-460D-88F1-5FB3446C5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5C9FBE4-DB1A-4E5A-B425-BA956D1CC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2D0C804-5172-447F-9610-D5B5C54A9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4C06DFD-CC11-4D45-A51C-17DA18605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8978DDE-577E-4E7E-BC5D-FFFD5596F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3620615-B21A-4D1A-A29C-EBCCC5C70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8.8724</c:v>
                </c:pt>
                <c:pt idx="1">
                  <c:v>135.2869</c:v>
                </c:pt>
                <c:pt idx="2">
                  <c:v>116.2015</c:v>
                </c:pt>
              </c:numCache>
            </c:numRef>
          </c:xVal>
          <c:yVal>
            <c:numRef>
              <c:f>Sheet1!$B$2:$B$4</c:f>
              <c:numCache>
                <c:formatCode>General</c:formatCode>
                <c:ptCount val="3"/>
                <c:pt idx="0">
                  <c:v>1.264</c:v>
                </c:pt>
                <c:pt idx="1">
                  <c:v>0.80400000000000005</c:v>
                </c:pt>
                <c:pt idx="2">
                  <c:v>1.042</c:v>
                </c:pt>
              </c:numCache>
            </c:numRef>
          </c:yVal>
          <c:bubbleSize>
            <c:numRef>
              <c:f>Sheet1!$C$2:$C$4</c:f>
              <c:numCache>
                <c:formatCode>General</c:formatCode>
                <c:ptCount val="3"/>
                <c:pt idx="0">
                  <c:v>1565109</c:v>
                </c:pt>
                <c:pt idx="1">
                  <c:v>1453252</c:v>
                </c:pt>
                <c:pt idx="2">
                  <c:v>693026</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3"/>
          <c:min val="9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F13E20-31D8-4B29-9480-170604A63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C462E2-2C1E-4A3A-91C3-D038C7395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84517F-C38E-4650-A277-C22E0021D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5C02B07-1FA9-4895-8477-DA556590C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D22A61-FD84-4438-B849-4EB06D3D1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036571-F208-432A-BF58-7BBEB3586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3919D7F-A43F-4D93-B767-3C24480D6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6FDBC50-74C4-441B-AD37-D1AFF7589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2.51070000000001</c:v>
                </c:pt>
                <c:pt idx="1">
                  <c:v>219.06989999999999</c:v>
                </c:pt>
                <c:pt idx="2">
                  <c:v>246.83260000000001</c:v>
                </c:pt>
                <c:pt idx="3">
                  <c:v>295.54790000000003</c:v>
                </c:pt>
                <c:pt idx="4">
                  <c:v>600.36440000000005</c:v>
                </c:pt>
                <c:pt idx="5">
                  <c:v>80.922499999999999</c:v>
                </c:pt>
                <c:pt idx="6">
                  <c:v>559.72159999999997</c:v>
                </c:pt>
              </c:numCache>
            </c:numRef>
          </c:xVal>
          <c:yVal>
            <c:numRef>
              <c:f>Sheet1!$B$2:$B$8</c:f>
              <c:numCache>
                <c:formatCode>General</c:formatCode>
                <c:ptCount val="7"/>
                <c:pt idx="0">
                  <c:v>1.089</c:v>
                </c:pt>
                <c:pt idx="1">
                  <c:v>0.79900000000000004</c:v>
                </c:pt>
                <c:pt idx="2">
                  <c:v>0.82899999999999996</c:v>
                </c:pt>
                <c:pt idx="3">
                  <c:v>2.1309999999999998</c:v>
                </c:pt>
                <c:pt idx="4">
                  <c:v>4.4080000000000004</c:v>
                </c:pt>
                <c:pt idx="5">
                  <c:v>0.42199999999999999</c:v>
                </c:pt>
                <c:pt idx="6">
                  <c:v>7.7270000000000003</c:v>
                </c:pt>
              </c:numCache>
            </c:numRef>
          </c:yVal>
          <c:bubbleSize>
            <c:numRef>
              <c:f>Sheet1!$C$2:$C$8</c:f>
              <c:numCache>
                <c:formatCode>General</c:formatCode>
                <c:ptCount val="7"/>
                <c:pt idx="0">
                  <c:v>68815552</c:v>
                </c:pt>
                <c:pt idx="1">
                  <c:v>31676853</c:v>
                </c:pt>
                <c:pt idx="2">
                  <c:v>30151588</c:v>
                </c:pt>
                <c:pt idx="3">
                  <c:v>9309759</c:v>
                </c:pt>
                <c:pt idx="4">
                  <c:v>5824135</c:v>
                </c:pt>
                <c:pt idx="5">
                  <c:v>5507100</c:v>
                </c:pt>
                <c:pt idx="6">
                  <c:v>3172502</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
          <c:min val="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87DA1B-CA0B-44F3-B580-256A185ABE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A77FDA-46A2-4A2A-A990-9D1E86F54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72B6B5-6FF5-44B3-A76F-185A094F2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D740B7-DD1D-4FA0-A3D5-6C738654B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F75834-424C-4517-921D-5FA5DF307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7719B6B-FFD8-417A-9220-A75B4299B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0D9B784-E21A-46FB-831F-1D56A6CB3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57B7C0-0886-40BA-BEB8-7F7049DE8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9.99459999999999</c:v>
                </c:pt>
                <c:pt idx="1">
                  <c:v>472.61869999999999</c:v>
                </c:pt>
                <c:pt idx="2">
                  <c:v>490.36130000000003</c:v>
                </c:pt>
                <c:pt idx="3">
                  <c:v>335.14609999999999</c:v>
                </c:pt>
                <c:pt idx="4">
                  <c:v>149.61779999999999</c:v>
                </c:pt>
                <c:pt idx="5">
                  <c:v>411.84309999999999</c:v>
                </c:pt>
                <c:pt idx="6">
                  <c:v>480.03129999999999</c:v>
                </c:pt>
                <c:pt idx="7">
                  <c:v>430.3</c:v>
                </c:pt>
              </c:numCache>
            </c:numRef>
          </c:xVal>
          <c:yVal>
            <c:numRef>
              <c:f>Sheet1!$B$2:$B$9</c:f>
              <c:numCache>
                <c:formatCode>General</c:formatCode>
                <c:ptCount val="8"/>
                <c:pt idx="0">
                  <c:v>0.94599999999999995</c:v>
                </c:pt>
                <c:pt idx="1">
                  <c:v>2.399</c:v>
                </c:pt>
                <c:pt idx="2">
                  <c:v>0</c:v>
                </c:pt>
                <c:pt idx="3">
                  <c:v>0</c:v>
                </c:pt>
                <c:pt idx="4">
                  <c:v>2.0009999999999999</c:v>
                </c:pt>
                <c:pt idx="5">
                  <c:v>5.3680000000000003</c:v>
                </c:pt>
                <c:pt idx="6">
                  <c:v>0.35699999999999998</c:v>
                </c:pt>
                <c:pt idx="7">
                  <c:v>0</c:v>
                </c:pt>
              </c:numCache>
            </c:numRef>
          </c:yVal>
          <c:bubbleSize>
            <c:numRef>
              <c:f>Sheet1!$C$2:$C$9</c:f>
              <c:numCache>
                <c:formatCode>General</c:formatCode>
                <c:ptCount val="8"/>
                <c:pt idx="0">
                  <c:v>103599</c:v>
                </c:pt>
                <c:pt idx="1">
                  <c:v>65694</c:v>
                </c:pt>
                <c:pt idx="2">
                  <c:v>58353</c:v>
                </c:pt>
                <c:pt idx="3">
                  <c:v>29828</c:v>
                </c:pt>
                <c:pt idx="4">
                  <c:v>23490</c:v>
                </c:pt>
                <c:pt idx="5">
                  <c:v>21004</c:v>
                </c:pt>
                <c:pt idx="6">
                  <c:v>15361</c:v>
                </c:pt>
                <c:pt idx="7">
                  <c:v>12909</c:v>
                </c:pt>
              </c:numCache>
            </c:numRef>
          </c:bubbleSize>
          <c:bubble3D val="0"/>
          <c:extLst>
            <c:ext xmlns:c15="http://schemas.microsoft.com/office/drawing/2012/chart" uri="{02D57815-91ED-43cb-92C2-25804820EDAC}">
              <c15:datalabelsRange>
                <c15:f>Sheet1!$E$2:$E$10</c15:f>
                <c15:dlblRangeCache>
                  <c:ptCount val="9"/>
                  <c:pt idx="0">
                    <c:v>Eclipsol</c:v>
                  </c:pt>
                  <c:pt idx="1">
                    <c:v>Eucerin</c:v>
                  </c:pt>
                  <c:pt idx="2">
                    <c:v>Avene</c:v>
                  </c:pt>
                  <c:pt idx="3">
                    <c:v>La Roche-Posay</c:v>
                  </c:pt>
                  <c:pt idx="4">
                    <c:v>Neutrogena</c:v>
                  </c:pt>
                  <c:pt idx="5">
                    <c:v>Vichy</c:v>
                  </c:pt>
                  <c:pt idx="6">
                    <c:v>Nivea</c:v>
                  </c:pt>
                  <c:pt idx="7">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2"/>
          <c:min val="1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BC1ABD-119E-484D-9C3D-322A9C941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A2B2A4-EEF7-4859-A0E1-329A0BA70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66880C-F557-4604-B775-E049A5570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D9929B-ECFA-45F4-BE7D-26576416E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20352C4-35FD-4B91-B288-7CF2FC93F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A5E9016-F3D9-433E-A289-8CBCDD8A9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E334C94-377F-4986-BD71-20B3F4EE2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3E7C983-BDB2-4AF2-B0BA-5DFA2349C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66.13529999999997</c:v>
                </c:pt>
                <c:pt idx="1">
                  <c:v>250.9359</c:v>
                </c:pt>
                <c:pt idx="2">
                  <c:v>214.3</c:v>
                </c:pt>
                <c:pt idx="3">
                  <c:v>270.09620000000001</c:v>
                </c:pt>
              </c:numCache>
            </c:numRef>
          </c:xVal>
          <c:yVal>
            <c:numRef>
              <c:f>Sheet1!$B$2:$B$5</c:f>
              <c:numCache>
                <c:formatCode>General</c:formatCode>
                <c:ptCount val="4"/>
                <c:pt idx="0">
                  <c:v>0.98899999999999999</c:v>
                </c:pt>
                <c:pt idx="1">
                  <c:v>1.105</c:v>
                </c:pt>
                <c:pt idx="2">
                  <c:v>0.79200000000000004</c:v>
                </c:pt>
                <c:pt idx="3">
                  <c:v>1.3620000000000001</c:v>
                </c:pt>
              </c:numCache>
            </c:numRef>
          </c:yVal>
          <c:bubbleSize>
            <c:numRef>
              <c:f>Sheet1!$C$2:$C$5</c:f>
              <c:numCache>
                <c:formatCode>General</c:formatCode>
                <c:ptCount val="4"/>
                <c:pt idx="0">
                  <c:v>1704863</c:v>
                </c:pt>
                <c:pt idx="1">
                  <c:v>1323185</c:v>
                </c:pt>
                <c:pt idx="2">
                  <c:v>413599</c:v>
                </c:pt>
                <c:pt idx="3">
                  <c:v>143151</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
          <c:min val="17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867AD9-2C1F-447E-91B9-593F80143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AED174-5812-4727-BEE8-9304DE4E8F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2E5049-20FE-436B-99D9-19632DBC5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6E6B55-29DE-41FF-A534-4FAFE48FE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74177EE-7EE5-46F2-B3B7-2B0B8E0E1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4E5E692-C6FD-4C21-8E81-7C39B6E0B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9276795-5E03-474C-8D82-C4BEF548F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C796CFA-C4CF-4CB6-8356-F4DB12627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69.85</c:v>
                </c:pt>
                <c:pt idx="1">
                  <c:v>136.4699</c:v>
                </c:pt>
                <c:pt idx="2">
                  <c:v>112.9348</c:v>
                </c:pt>
                <c:pt idx="3">
                  <c:v>250.0581</c:v>
                </c:pt>
              </c:numCache>
            </c:numRef>
          </c:xVal>
          <c:yVal>
            <c:numRef>
              <c:f>Sheet1!$B$2:$B$5</c:f>
              <c:numCache>
                <c:formatCode>General</c:formatCode>
                <c:ptCount val="4"/>
                <c:pt idx="0">
                  <c:v>1.2230000000000001</c:v>
                </c:pt>
                <c:pt idx="1">
                  <c:v>0.745</c:v>
                </c:pt>
                <c:pt idx="2">
                  <c:v>0.97399999999999998</c:v>
                </c:pt>
                <c:pt idx="3">
                  <c:v>3.0339999999999998</c:v>
                </c:pt>
              </c:numCache>
            </c:numRef>
          </c:yVal>
          <c:bubbleSize>
            <c:numRef>
              <c:f>Sheet1!$C$2:$C$5</c:f>
              <c:numCache>
                <c:formatCode>General</c:formatCode>
                <c:ptCount val="4"/>
                <c:pt idx="0">
                  <c:v>1178419</c:v>
                </c:pt>
                <c:pt idx="1">
                  <c:v>940414</c:v>
                </c:pt>
                <c:pt idx="2">
                  <c:v>567949</c:v>
                </c:pt>
                <c:pt idx="3">
                  <c:v>38759</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pt idx="2">
                    <c:v>Nivea</c:v>
                  </c:pt>
                  <c:pt idx="3">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0"/>
          <c:min val="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73AEC6-3F9E-469A-88D5-ADFB9296A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FED9C6-0CC0-4B13-B0EB-F4E421D4A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25C5E3-58D7-42B7-BEDB-3FDB1E6E0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EE016F-F747-456E-80E1-CA140785F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56EE1A-FA3A-41C0-85D9-047C6808F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7644937-4AEA-49F8-8651-CECB574A1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819C774-4669-403C-8A80-979BE4613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8FF45F0-1430-4E03-9FF8-D857916AD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2.0453</c:v>
                </c:pt>
                <c:pt idx="1">
                  <c:v>209.34389999999999</c:v>
                </c:pt>
                <c:pt idx="2">
                  <c:v>225.2062</c:v>
                </c:pt>
                <c:pt idx="3">
                  <c:v>576.40459999999996</c:v>
                </c:pt>
                <c:pt idx="4">
                  <c:v>291.35789999999997</c:v>
                </c:pt>
                <c:pt idx="5">
                  <c:v>87.380099999999999</c:v>
                </c:pt>
                <c:pt idx="6">
                  <c:v>560.57960000000003</c:v>
                </c:pt>
              </c:numCache>
            </c:numRef>
          </c:xVal>
          <c:yVal>
            <c:numRef>
              <c:f>Sheet1!$B$2:$B$8</c:f>
              <c:numCache>
                <c:formatCode>General</c:formatCode>
                <c:ptCount val="7"/>
                <c:pt idx="0">
                  <c:v>1.008</c:v>
                </c:pt>
                <c:pt idx="1">
                  <c:v>0.71899999999999997</c:v>
                </c:pt>
                <c:pt idx="2">
                  <c:v>0.71899999999999997</c:v>
                </c:pt>
                <c:pt idx="3">
                  <c:v>3.8879999999999999</c:v>
                </c:pt>
                <c:pt idx="4">
                  <c:v>1.913</c:v>
                </c:pt>
                <c:pt idx="5">
                  <c:v>0.40600000000000003</c:v>
                </c:pt>
                <c:pt idx="6">
                  <c:v>6.1710000000000003</c:v>
                </c:pt>
              </c:numCache>
            </c:numRef>
          </c:yVal>
          <c:bubbleSize>
            <c:numRef>
              <c:f>Sheet1!$C$2:$C$8</c:f>
              <c:numCache>
                <c:formatCode>General</c:formatCode>
                <c:ptCount val="7"/>
                <c:pt idx="0">
                  <c:v>462155258</c:v>
                </c:pt>
                <c:pt idx="1">
                  <c:v>245682239</c:v>
                </c:pt>
                <c:pt idx="2">
                  <c:v>163452614</c:v>
                </c:pt>
                <c:pt idx="3">
                  <c:v>105220346</c:v>
                </c:pt>
                <c:pt idx="4">
                  <c:v>101346207</c:v>
                </c:pt>
                <c:pt idx="5">
                  <c:v>48849248</c:v>
                </c:pt>
                <c:pt idx="6">
                  <c:v>41745239</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2"/>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22FDCD-69B5-484A-A625-370E46D6D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BF6D7C-EC08-4CC8-9D74-A55114EB3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C966E5-4727-4523-A211-12E898A6F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B3D1D4-7CE0-4DF2-86EA-68A5F1734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3219A5-24E2-4E06-9865-3C8CA41D8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0A6C91-B520-417A-872E-F4006D034B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2757CDA-A77A-4711-AD18-82280FBF2A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B5F88D7-8EFD-45FA-923B-C71B0FDFA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06.07079999999996</c:v>
                </c:pt>
                <c:pt idx="1">
                  <c:v>268.97649999999999</c:v>
                </c:pt>
                <c:pt idx="2">
                  <c:v>459.30149999999998</c:v>
                </c:pt>
                <c:pt idx="3">
                  <c:v>476.96530000000001</c:v>
                </c:pt>
                <c:pt idx="4">
                  <c:v>184.42080000000001</c:v>
                </c:pt>
                <c:pt idx="5">
                  <c:v>336.36070000000001</c:v>
                </c:pt>
              </c:numCache>
            </c:numRef>
          </c:xVal>
          <c:yVal>
            <c:numRef>
              <c:f>Sheet1!$B$2:$B$7</c:f>
              <c:numCache>
                <c:formatCode>General</c:formatCode>
                <c:ptCount val="6"/>
                <c:pt idx="0">
                  <c:v>3.089</c:v>
                </c:pt>
                <c:pt idx="1">
                  <c:v>0.67300000000000004</c:v>
                </c:pt>
                <c:pt idx="2">
                  <c:v>2.2429999999999999</c:v>
                </c:pt>
                <c:pt idx="3">
                  <c:v>6.548</c:v>
                </c:pt>
                <c:pt idx="4">
                  <c:v>0.37</c:v>
                </c:pt>
                <c:pt idx="5">
                  <c:v>5.226</c:v>
                </c:pt>
              </c:numCache>
            </c:numRef>
          </c:yVal>
          <c:bubbleSize>
            <c:numRef>
              <c:f>Sheet1!$C$2:$C$7</c:f>
              <c:numCache>
                <c:formatCode>General</c:formatCode>
                <c:ptCount val="6"/>
                <c:pt idx="0">
                  <c:v>2911564</c:v>
                </c:pt>
                <c:pt idx="1">
                  <c:v>1397064</c:v>
                </c:pt>
                <c:pt idx="2">
                  <c:v>953510</c:v>
                </c:pt>
                <c:pt idx="3">
                  <c:v>741204</c:v>
                </c:pt>
                <c:pt idx="4">
                  <c:v>316835</c:v>
                </c:pt>
                <c:pt idx="5">
                  <c:v>229398</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Mustela</c:v>
                  </c:pt>
                  <c:pt idx="3">
                    <c:v>La Roche-Posay</c:v>
                  </c:pt>
                  <c:pt idx="4">
                    <c:v>Hawaiian Tropic</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7"/>
          <c:min val="14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051168-0F80-48A0-BE8E-41B428AD8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583459-1466-4790-B547-07FB174C7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5A6CFF-192D-4600-93C8-5A2258F80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1C60A1-AC13-4407-A908-424ED1B90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94D457-2917-47F8-88E0-8AA0AF9CB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B8C01F-71BB-43D0-89E5-C6B856AEF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1329093-4A1F-4579-BD37-76A591E81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B82F22-D2E7-4B5D-8DEC-BB3C7292C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3.33459999999999</c:v>
                </c:pt>
                <c:pt idx="1">
                  <c:v>240.1936</c:v>
                </c:pt>
                <c:pt idx="2">
                  <c:v>76.3673</c:v>
                </c:pt>
                <c:pt idx="3">
                  <c:v>74.201899999999995</c:v>
                </c:pt>
                <c:pt idx="4">
                  <c:v>688.12819999999999</c:v>
                </c:pt>
                <c:pt idx="5">
                  <c:v>577.55870000000004</c:v>
                </c:pt>
              </c:numCache>
            </c:numRef>
          </c:xVal>
          <c:yVal>
            <c:numRef>
              <c:f>Sheet1!$B$2:$B$7</c:f>
              <c:numCache>
                <c:formatCode>General</c:formatCode>
                <c:ptCount val="6"/>
                <c:pt idx="0">
                  <c:v>1.2829999999999999</c:v>
                </c:pt>
                <c:pt idx="1">
                  <c:v>1.079</c:v>
                </c:pt>
                <c:pt idx="2">
                  <c:v>0.52100000000000002</c:v>
                </c:pt>
                <c:pt idx="3">
                  <c:v>0.54900000000000004</c:v>
                </c:pt>
                <c:pt idx="4">
                  <c:v>4.0759999999999996</c:v>
                </c:pt>
                <c:pt idx="5">
                  <c:v>2.6150000000000002</c:v>
                </c:pt>
              </c:numCache>
            </c:numRef>
          </c:yVal>
          <c:bubbleSize>
            <c:numRef>
              <c:f>Sheet1!$C$2:$C$7</c:f>
              <c:numCache>
                <c:formatCode>General</c:formatCode>
                <c:ptCount val="6"/>
                <c:pt idx="0">
                  <c:v>61277586</c:v>
                </c:pt>
                <c:pt idx="1">
                  <c:v>40429874</c:v>
                </c:pt>
                <c:pt idx="2">
                  <c:v>13143504</c:v>
                </c:pt>
                <c:pt idx="3">
                  <c:v>5378671</c:v>
                </c:pt>
                <c:pt idx="4">
                  <c:v>2039612</c:v>
                </c:pt>
                <c:pt idx="5">
                  <c:v>1819310</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La Roche-Posay</c:v>
                  </c:pt>
                  <c:pt idx="5">
                    <c:v>Av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6"/>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CC59CC-6C13-4507-8364-F48DCA21C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0058EA-8F29-4D25-9D6A-77BAB891F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CE5C0D-72CE-4EDF-8E37-BB3FF7BF0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E646B1-6381-4790-8BBB-B393F04D6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CEE5B1-7A68-4418-ADEF-C35F6B950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94FEC6-4CCC-449F-B985-9F5CA760C8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DBBC96D-2B27-4C92-9497-1696B176C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78D45BC-3927-4217-A553-756ADB59B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1.3503</c:v>
                </c:pt>
                <c:pt idx="1">
                  <c:v>196.37209999999999</c:v>
                </c:pt>
                <c:pt idx="2">
                  <c:v>216.8486</c:v>
                </c:pt>
                <c:pt idx="3">
                  <c:v>291.04020000000003</c:v>
                </c:pt>
                <c:pt idx="4">
                  <c:v>590.76559999999995</c:v>
                </c:pt>
                <c:pt idx="5">
                  <c:v>87.442599999999999</c:v>
                </c:pt>
                <c:pt idx="6">
                  <c:v>569.71199999999999</c:v>
                </c:pt>
              </c:numCache>
            </c:numRef>
          </c:xVal>
          <c:yVal>
            <c:numRef>
              <c:f>Sheet1!$B$2:$B$8</c:f>
              <c:numCache>
                <c:formatCode>General</c:formatCode>
                <c:ptCount val="7"/>
                <c:pt idx="0">
                  <c:v>1.0029999999999999</c:v>
                </c:pt>
                <c:pt idx="1">
                  <c:v>0.71</c:v>
                </c:pt>
                <c:pt idx="2">
                  <c:v>0.68100000000000005</c:v>
                </c:pt>
                <c:pt idx="3">
                  <c:v>1.8939999999999999</c:v>
                </c:pt>
                <c:pt idx="4">
                  <c:v>3.9169999999999998</c:v>
                </c:pt>
                <c:pt idx="5">
                  <c:v>0.39300000000000002</c:v>
                </c:pt>
                <c:pt idx="6">
                  <c:v>4.8410000000000002</c:v>
                </c:pt>
              </c:numCache>
            </c:numRef>
          </c:yVal>
          <c:bubbleSize>
            <c:numRef>
              <c:f>Sheet1!$C$2:$C$8</c:f>
              <c:numCache>
                <c:formatCode>General</c:formatCode>
                <c:ptCount val="7"/>
                <c:pt idx="0">
                  <c:v>98282653</c:v>
                </c:pt>
                <c:pt idx="1">
                  <c:v>54081083</c:v>
                </c:pt>
                <c:pt idx="2">
                  <c:v>32135440</c:v>
                </c:pt>
                <c:pt idx="3">
                  <c:v>28036189</c:v>
                </c:pt>
                <c:pt idx="4">
                  <c:v>24994112</c:v>
                </c:pt>
                <c:pt idx="5">
                  <c:v>10334315</c:v>
                </c:pt>
                <c:pt idx="6">
                  <c:v>893821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D7FDFD-7EF0-4A81-99CD-512CA54A3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BFE5CE-9A52-4F99-975E-0FDFFEE9D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B53A17B-BABC-4204-902A-A35F65E1D6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A4F3B5-E9B6-4753-9E23-7AEEAF020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34D049-CA09-432E-8974-DA9108A72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D162BDF-16E6-4DF3-8A90-DF964759E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F7F3F77-BE88-41D3-A0CA-45BC94B84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D17AD9-64E8-4DA1-85FB-39CA14982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39.6053</c:v>
                </c:pt>
                <c:pt idx="1">
                  <c:v>218.04519999999999</c:v>
                </c:pt>
                <c:pt idx="2">
                  <c:v>224.18709999999999</c:v>
                </c:pt>
                <c:pt idx="3">
                  <c:v>280.37139999999999</c:v>
                </c:pt>
                <c:pt idx="4">
                  <c:v>86.580500000000001</c:v>
                </c:pt>
                <c:pt idx="5">
                  <c:v>605.09690000000001</c:v>
                </c:pt>
              </c:numCache>
            </c:numRef>
          </c:xVal>
          <c:yVal>
            <c:numRef>
              <c:f>Sheet1!$B$2:$B$7</c:f>
              <c:numCache>
                <c:formatCode>General</c:formatCode>
                <c:ptCount val="6"/>
                <c:pt idx="0">
                  <c:v>1.147</c:v>
                </c:pt>
                <c:pt idx="1">
                  <c:v>0.84499999999999997</c:v>
                </c:pt>
                <c:pt idx="2">
                  <c:v>0.84899999999999998</c:v>
                </c:pt>
                <c:pt idx="3">
                  <c:v>2.1760000000000002</c:v>
                </c:pt>
                <c:pt idx="4">
                  <c:v>0.47899999999999998</c:v>
                </c:pt>
                <c:pt idx="5">
                  <c:v>5.1710000000000003</c:v>
                </c:pt>
              </c:numCache>
            </c:numRef>
          </c:yVal>
          <c:bubbleSize>
            <c:numRef>
              <c:f>Sheet1!$C$2:$C$7</c:f>
              <c:numCache>
                <c:formatCode>General</c:formatCode>
                <c:ptCount val="6"/>
                <c:pt idx="0">
                  <c:v>110924561</c:v>
                </c:pt>
                <c:pt idx="1">
                  <c:v>51770699</c:v>
                </c:pt>
                <c:pt idx="2">
                  <c:v>35419541</c:v>
                </c:pt>
                <c:pt idx="3">
                  <c:v>13224280</c:v>
                </c:pt>
                <c:pt idx="4">
                  <c:v>10297880</c:v>
                </c:pt>
                <c:pt idx="5">
                  <c:v>378609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Caribbean Beach</c:v>
                  </c:pt>
                  <c:pt idx="5">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
          <c:min val="6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8974E7-E496-4022-9FDD-6183454B4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B285AF-AC35-425E-BB8C-1216AAFBC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20C183-26E1-4CBE-8E52-E72425407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ABB531-CE9C-4E77-9C09-B725D15B7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1A9149-7692-46FB-B596-7C0D7A44E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4D3356B-8616-43AF-9BCA-878023EC0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90BB215-FED4-4F38-BD70-B4E07938F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79CEEAD-44F3-455A-8EA8-0A7634816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10.5</c:v>
                </c:pt>
                <c:pt idx="1">
                  <c:v>270.68920000000003</c:v>
                </c:pt>
                <c:pt idx="2">
                  <c:v>504.26330000000002</c:v>
                </c:pt>
                <c:pt idx="3">
                  <c:v>542.40380000000005</c:v>
                </c:pt>
                <c:pt idx="4">
                  <c:v>169.7456</c:v>
                </c:pt>
                <c:pt idx="5">
                  <c:v>852.34209999999996</c:v>
                </c:pt>
              </c:numCache>
            </c:numRef>
          </c:xVal>
          <c:yVal>
            <c:numRef>
              <c:f>Sheet1!$B$2:$B$7</c:f>
              <c:numCache>
                <c:formatCode>General</c:formatCode>
                <c:ptCount val="6"/>
                <c:pt idx="0">
                  <c:v>4.59</c:v>
                </c:pt>
                <c:pt idx="1">
                  <c:v>0.71599999999999997</c:v>
                </c:pt>
                <c:pt idx="2">
                  <c:v>2.9</c:v>
                </c:pt>
                <c:pt idx="3">
                  <c:v>10.904999999999999</c:v>
                </c:pt>
                <c:pt idx="4">
                  <c:v>0.36499999999999999</c:v>
                </c:pt>
                <c:pt idx="5">
                  <c:v>0</c:v>
                </c:pt>
              </c:numCache>
            </c:numRef>
          </c:yVal>
          <c:bubbleSize>
            <c:numRef>
              <c:f>Sheet1!$C$2:$C$7</c:f>
              <c:numCache>
                <c:formatCode>General</c:formatCode>
                <c:ptCount val="6"/>
                <c:pt idx="0">
                  <c:v>484737</c:v>
                </c:pt>
                <c:pt idx="1">
                  <c:v>296134</c:v>
                </c:pt>
                <c:pt idx="2">
                  <c:v>237508</c:v>
                </c:pt>
                <c:pt idx="3">
                  <c:v>141025</c:v>
                </c:pt>
                <c:pt idx="4">
                  <c:v>48038</c:v>
                </c:pt>
                <c:pt idx="5">
                  <c:v>32389</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Mustela</c:v>
                  </c:pt>
                  <c:pt idx="3">
                    <c:v>La Roche-Posay</c:v>
                  </c:pt>
                  <c:pt idx="4">
                    <c:v>Hawaiian Tropic</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23"/>
          <c:min val="13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660B7C-EB09-4B80-B032-59D231CDD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D72089-2976-4825-A943-64B19BD9A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D4E500-56CA-442F-A469-E97EED1AA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6E6D86B-3E9D-407E-BAEC-CAE15BEEA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6F8ADE3-FA65-435F-A3DD-243110752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A6FC97-3B60-4816-B3BF-B8608D190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F18B4B-8598-4A78-8A96-304EC8D46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750EC34-3761-4AF2-B3C1-56FA5BFE4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85989999999998</c:v>
                </c:pt>
                <c:pt idx="1">
                  <c:v>239.55940000000001</c:v>
                </c:pt>
                <c:pt idx="2">
                  <c:v>74.983099999999993</c:v>
                </c:pt>
                <c:pt idx="3">
                  <c:v>74.660899999999998</c:v>
                </c:pt>
                <c:pt idx="4">
                  <c:v>741.24130000000002</c:v>
                </c:pt>
                <c:pt idx="5">
                  <c:v>569.50909999999999</c:v>
                </c:pt>
                <c:pt idx="6">
                  <c:v>560.73360000000002</c:v>
                </c:pt>
              </c:numCache>
            </c:numRef>
          </c:xVal>
          <c:yVal>
            <c:numRef>
              <c:f>Sheet1!$B$2:$B$8</c:f>
              <c:numCache>
                <c:formatCode>General</c:formatCode>
                <c:ptCount val="7"/>
                <c:pt idx="0">
                  <c:v>1.2949999999999999</c:v>
                </c:pt>
                <c:pt idx="1">
                  <c:v>1.099</c:v>
                </c:pt>
                <c:pt idx="2">
                  <c:v>0.51600000000000001</c:v>
                </c:pt>
                <c:pt idx="3">
                  <c:v>0.56000000000000005</c:v>
                </c:pt>
                <c:pt idx="4">
                  <c:v>4.4420000000000002</c:v>
                </c:pt>
                <c:pt idx="5">
                  <c:v>2.5289999999999999</c:v>
                </c:pt>
                <c:pt idx="6">
                  <c:v>2.6579999999999999</c:v>
                </c:pt>
              </c:numCache>
            </c:numRef>
          </c:yVal>
          <c:bubbleSize>
            <c:numRef>
              <c:f>Sheet1!$C$2:$C$8</c:f>
              <c:numCache>
                <c:formatCode>General</c:formatCode>
                <c:ptCount val="7"/>
                <c:pt idx="0">
                  <c:v>12991918</c:v>
                </c:pt>
                <c:pt idx="1">
                  <c:v>7281167</c:v>
                </c:pt>
                <c:pt idx="2">
                  <c:v>2686718</c:v>
                </c:pt>
                <c:pt idx="3">
                  <c:v>1376673</c:v>
                </c:pt>
                <c:pt idx="4">
                  <c:v>405459</c:v>
                </c:pt>
                <c:pt idx="5">
                  <c:v>343414</c:v>
                </c:pt>
                <c:pt idx="6">
                  <c:v>298871</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La Roche-Posay</c:v>
                  </c:pt>
                  <c:pt idx="5">
                    <c:v>Avene</c:v>
                  </c:pt>
                  <c:pt idx="6">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9"/>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0A921F-48CA-493F-9F1A-58ED20AE5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8DF494-84F5-41DB-922A-34D6D2A04A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7F4BE9-977F-4A57-84F6-0292FD4ED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7B950F-E1AD-452C-8EAE-2F942AEFC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F37CAA-266C-4A1A-9DB8-C93DB845B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413D3D-6E1B-4F3B-8234-29F00C067E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E7AC17-0493-4A56-A555-E68773071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921E35-C2CF-4863-9FBB-AC45D4529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249</c:v>
                </c:pt>
                <c:pt idx="1">
                  <c:v>551.78729999999996</c:v>
                </c:pt>
                <c:pt idx="2">
                  <c:v>195.22649999999999</c:v>
                </c:pt>
                <c:pt idx="3">
                  <c:v>196.30840000000001</c:v>
                </c:pt>
                <c:pt idx="4">
                  <c:v>544.46720000000005</c:v>
                </c:pt>
                <c:pt idx="5">
                  <c:v>293.06799999999998</c:v>
                </c:pt>
                <c:pt idx="6">
                  <c:v>574.80970000000002</c:v>
                </c:pt>
                <c:pt idx="7">
                  <c:v>518.88390000000004</c:v>
                </c:pt>
              </c:numCache>
            </c:numRef>
          </c:xVal>
          <c:yVal>
            <c:numRef>
              <c:f>Sheet1!$B$2:$B$9</c:f>
              <c:numCache>
                <c:formatCode>General</c:formatCode>
                <c:ptCount val="8"/>
                <c:pt idx="0">
                  <c:v>0.86899999999999999</c:v>
                </c:pt>
                <c:pt idx="1">
                  <c:v>3.2410000000000001</c:v>
                </c:pt>
                <c:pt idx="2">
                  <c:v>0.56299999999999994</c:v>
                </c:pt>
                <c:pt idx="3">
                  <c:v>0.56000000000000005</c:v>
                </c:pt>
                <c:pt idx="4">
                  <c:v>4.4269999999999996</c:v>
                </c:pt>
                <c:pt idx="5">
                  <c:v>1.5860000000000001</c:v>
                </c:pt>
                <c:pt idx="6">
                  <c:v>3.9670000000000001</c:v>
                </c:pt>
                <c:pt idx="7">
                  <c:v>3.2989999999999999</c:v>
                </c:pt>
              </c:numCache>
            </c:numRef>
          </c:yVal>
          <c:bubbleSize>
            <c:numRef>
              <c:f>Sheet1!$C$2:$C$9</c:f>
              <c:numCache>
                <c:formatCode>General</c:formatCode>
                <c:ptCount val="8"/>
                <c:pt idx="0">
                  <c:v>68580640</c:v>
                </c:pt>
                <c:pt idx="1">
                  <c:v>37358209</c:v>
                </c:pt>
                <c:pt idx="2">
                  <c:v>32245369</c:v>
                </c:pt>
                <c:pt idx="3">
                  <c:v>24731918</c:v>
                </c:pt>
                <c:pt idx="4">
                  <c:v>19616609</c:v>
                </c:pt>
                <c:pt idx="5">
                  <c:v>19334577</c:v>
                </c:pt>
                <c:pt idx="6">
                  <c:v>12419913</c:v>
                </c:pt>
                <c:pt idx="7">
                  <c:v>989407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Banana Boat</c:v>
                  </c:pt>
                  <c:pt idx="4">
                    <c:v>La Roche-Posay</c:v>
                  </c:pt>
                  <c:pt idx="5">
                    <c:v>Neutrogena</c:v>
                  </c:pt>
                  <c:pt idx="6">
                    <c:v>Eucerin</c:v>
                  </c:pt>
                  <c:pt idx="7">
                    <c:v>Av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
          <c:min val="15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DB951D-70D8-49DB-A306-97694B475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1D14EB-B099-4B4F-80BA-4FEA257A2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1AB9CC-704E-4832-A97E-7F3346EF02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F330CE-B7F6-49AC-BC95-CF943D359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AFC4577-9443-4A00-B818-92332FE6B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7EFF01-8537-4EFB-9F56-71C33B63E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80DE512-0EE3-4758-9734-763023C51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3B001FE-972B-4A4C-838E-EAA69B606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88.75829999999996</c:v>
                </c:pt>
                <c:pt idx="1">
                  <c:v>253.01519999999999</c:v>
                </c:pt>
                <c:pt idx="2">
                  <c:v>430.09399999999999</c:v>
                </c:pt>
                <c:pt idx="3">
                  <c:v>382.25119999999998</c:v>
                </c:pt>
                <c:pt idx="4">
                  <c:v>248.8271</c:v>
                </c:pt>
                <c:pt idx="5">
                  <c:v>200.51390000000001</c:v>
                </c:pt>
              </c:numCache>
            </c:numRef>
          </c:xVal>
          <c:yVal>
            <c:numRef>
              <c:f>Sheet1!$B$2:$B$7</c:f>
              <c:numCache>
                <c:formatCode>General</c:formatCode>
                <c:ptCount val="6"/>
                <c:pt idx="0">
                  <c:v>1.9330000000000001</c:v>
                </c:pt>
                <c:pt idx="1">
                  <c:v>0.58399999999999996</c:v>
                </c:pt>
                <c:pt idx="2">
                  <c:v>4.1900000000000004</c:v>
                </c:pt>
                <c:pt idx="3">
                  <c:v>1.159</c:v>
                </c:pt>
                <c:pt idx="4">
                  <c:v>2.8929999999999998</c:v>
                </c:pt>
                <c:pt idx="5">
                  <c:v>0.379</c:v>
                </c:pt>
              </c:numCache>
            </c:numRef>
          </c:yVal>
          <c:bubbleSize>
            <c:numRef>
              <c:f>Sheet1!$C$2:$C$7</c:f>
              <c:numCache>
                <c:formatCode>General</c:formatCode>
                <c:ptCount val="6"/>
                <c:pt idx="0">
                  <c:v>1205777</c:v>
                </c:pt>
                <c:pt idx="1">
                  <c:v>365860</c:v>
                </c:pt>
                <c:pt idx="2">
                  <c:v>288163</c:v>
                </c:pt>
                <c:pt idx="3">
                  <c:v>241965</c:v>
                </c:pt>
                <c:pt idx="4">
                  <c:v>113714</c:v>
                </c:pt>
                <c:pt idx="5">
                  <c:v>50329</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La Roche-Posay</c:v>
                  </c:pt>
                  <c:pt idx="3">
                    <c:v>Mustela</c:v>
                  </c:pt>
                  <c:pt idx="4">
                    <c:v>Photoderm</c:v>
                  </c:pt>
                  <c:pt idx="5">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7"/>
          <c:min val="1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82C36F-09AC-4F7B-992F-0EC64B67E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9A69AA-2074-46F5-A49E-7E1F2B7C8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763349-7A35-4AFB-ACA1-89B0DA77B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146F4E-4BF4-4A0A-BC29-5A9AB3484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00D371-2FD7-4559-B86D-F5D186AFB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2FE3917-ADD7-4EE1-A412-B807282EC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713221-D606-4DDF-9546-47FB837F9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286049-5CED-4994-82C1-228C2C7B4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6.98430000000002</c:v>
                </c:pt>
                <c:pt idx="1">
                  <c:v>235.8278</c:v>
                </c:pt>
                <c:pt idx="2">
                  <c:v>73.155199999999994</c:v>
                </c:pt>
                <c:pt idx="3">
                  <c:v>74.095299999999995</c:v>
                </c:pt>
                <c:pt idx="4">
                  <c:v>632.39710000000002</c:v>
                </c:pt>
                <c:pt idx="5">
                  <c:v>565.08249999999998</c:v>
                </c:pt>
                <c:pt idx="6">
                  <c:v>558.32989999999995</c:v>
                </c:pt>
                <c:pt idx="7">
                  <c:v>602.02949999999998</c:v>
                </c:pt>
              </c:numCache>
            </c:numRef>
          </c:xVal>
          <c:yVal>
            <c:numRef>
              <c:f>Sheet1!$B$2:$B$9</c:f>
              <c:numCache>
                <c:formatCode>General</c:formatCode>
                <c:ptCount val="8"/>
                <c:pt idx="0">
                  <c:v>1.256</c:v>
                </c:pt>
                <c:pt idx="1">
                  <c:v>1.01</c:v>
                </c:pt>
                <c:pt idx="2">
                  <c:v>0.497</c:v>
                </c:pt>
                <c:pt idx="3">
                  <c:v>0.53100000000000003</c:v>
                </c:pt>
                <c:pt idx="4">
                  <c:v>3.4740000000000002</c:v>
                </c:pt>
                <c:pt idx="5">
                  <c:v>2.331</c:v>
                </c:pt>
                <c:pt idx="6">
                  <c:v>2.4609999999999999</c:v>
                </c:pt>
                <c:pt idx="7">
                  <c:v>1.774</c:v>
                </c:pt>
              </c:numCache>
            </c:numRef>
          </c:yVal>
          <c:bubbleSize>
            <c:numRef>
              <c:f>Sheet1!$C$2:$C$9</c:f>
              <c:numCache>
                <c:formatCode>General</c:formatCode>
                <c:ptCount val="8"/>
                <c:pt idx="0">
                  <c:v>8296738</c:v>
                </c:pt>
                <c:pt idx="1">
                  <c:v>6267125</c:v>
                </c:pt>
                <c:pt idx="2">
                  <c:v>1956024</c:v>
                </c:pt>
                <c:pt idx="3">
                  <c:v>793783</c:v>
                </c:pt>
                <c:pt idx="4">
                  <c:v>694372</c:v>
                </c:pt>
                <c:pt idx="5">
                  <c:v>534003</c:v>
                </c:pt>
                <c:pt idx="6">
                  <c:v>431589</c:v>
                </c:pt>
                <c:pt idx="7">
                  <c:v>429247</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La Roche-Posay</c:v>
                  </c:pt>
                  <c:pt idx="5">
                    <c:v>Avene</c:v>
                  </c:pt>
                  <c:pt idx="6">
                    <c:v>Eucerin</c:v>
                  </c:pt>
                  <c:pt idx="7">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9"/>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CF56B6-16E4-443A-A7D4-D948F6C54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785A12-FD9D-4FFB-A056-FAC9727A6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966349-CA6C-4566-A0B4-746D0E610E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CC9D33-9765-47AB-A11B-D878FB3F1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219351-D726-4858-85A7-41B3CA2D1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FC061CD-613C-4D70-A186-D28879E77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BA536D1-0DAA-4F9F-98AE-D8620326C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A8470C1-83D7-407E-B033-77DD503F56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32640000000001</c:v>
                </c:pt>
                <c:pt idx="1">
                  <c:v>221.75829999999999</c:v>
                </c:pt>
                <c:pt idx="2">
                  <c:v>233.3937</c:v>
                </c:pt>
                <c:pt idx="3">
                  <c:v>282.05270000000002</c:v>
                </c:pt>
                <c:pt idx="4">
                  <c:v>89.042100000000005</c:v>
                </c:pt>
                <c:pt idx="5">
                  <c:v>602.82489999999996</c:v>
                </c:pt>
              </c:numCache>
            </c:numRef>
          </c:xVal>
          <c:yVal>
            <c:numRef>
              <c:f>Sheet1!$B$2:$B$7</c:f>
              <c:numCache>
                <c:formatCode>General</c:formatCode>
                <c:ptCount val="6"/>
                <c:pt idx="0">
                  <c:v>1.109</c:v>
                </c:pt>
                <c:pt idx="1">
                  <c:v>0.82699999999999996</c:v>
                </c:pt>
                <c:pt idx="2">
                  <c:v>0.85899999999999999</c:v>
                </c:pt>
                <c:pt idx="3">
                  <c:v>2.0169999999999999</c:v>
                </c:pt>
                <c:pt idx="4">
                  <c:v>0.47599999999999998</c:v>
                </c:pt>
                <c:pt idx="5">
                  <c:v>4.6440000000000001</c:v>
                </c:pt>
              </c:numCache>
            </c:numRef>
          </c:yVal>
          <c:bubbleSize>
            <c:numRef>
              <c:f>Sheet1!$C$2:$C$7</c:f>
              <c:numCache>
                <c:formatCode>General</c:formatCode>
                <c:ptCount val="6"/>
                <c:pt idx="0">
                  <c:v>94584130</c:v>
                </c:pt>
                <c:pt idx="1">
                  <c:v>45779791</c:v>
                </c:pt>
                <c:pt idx="2">
                  <c:v>27044258</c:v>
                </c:pt>
                <c:pt idx="3">
                  <c:v>13126731</c:v>
                </c:pt>
                <c:pt idx="4">
                  <c:v>8014855</c:v>
                </c:pt>
                <c:pt idx="5">
                  <c:v>3622375</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Caribbean Beach</c:v>
                  </c:pt>
                  <c:pt idx="5">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3"/>
          <c:min val="7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D822D2-16C5-476D-83B9-1E13AE37F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23E5D7-5801-4954-B81D-90939A485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F9F2389-F4C2-405C-A94C-0A38A8063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AECD38-3833-4727-9569-9F0D3F582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5E3F0A5-263A-495F-BC9A-EC555AB46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0D0B29F-95EC-46A7-901E-57DB9F7DE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162CD45-8712-40D4-852B-2C3D9EA5A5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C2C5773-C3FF-4992-9118-CD036E88F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60.14520000000005</c:v>
                </c:pt>
                <c:pt idx="1">
                  <c:v>300.12</c:v>
                </c:pt>
                <c:pt idx="2">
                  <c:v>488.16430000000003</c:v>
                </c:pt>
                <c:pt idx="3">
                  <c:v>210.37819999999999</c:v>
                </c:pt>
                <c:pt idx="4">
                  <c:v>527.05560000000003</c:v>
                </c:pt>
              </c:numCache>
            </c:numRef>
          </c:xVal>
          <c:yVal>
            <c:numRef>
              <c:f>Sheet1!$B$2:$B$6</c:f>
              <c:numCache>
                <c:formatCode>General</c:formatCode>
                <c:ptCount val="5"/>
                <c:pt idx="0">
                  <c:v>13.773999999999999</c:v>
                </c:pt>
                <c:pt idx="1">
                  <c:v>0.77800000000000002</c:v>
                </c:pt>
                <c:pt idx="2">
                  <c:v>2.734</c:v>
                </c:pt>
                <c:pt idx="3">
                  <c:v>0.49299999999999999</c:v>
                </c:pt>
                <c:pt idx="4">
                  <c:v>0</c:v>
                </c:pt>
              </c:numCache>
            </c:numRef>
          </c:yVal>
          <c:bubbleSize>
            <c:numRef>
              <c:f>Sheet1!$C$2:$C$6</c:f>
              <c:numCache>
                <c:formatCode>General</c:formatCode>
                <c:ptCount val="5"/>
                <c:pt idx="0">
                  <c:v>163716</c:v>
                </c:pt>
                <c:pt idx="1">
                  <c:v>127551</c:v>
                </c:pt>
                <c:pt idx="2">
                  <c:v>103979</c:v>
                </c:pt>
                <c:pt idx="3">
                  <c:v>32819</c:v>
                </c:pt>
                <c:pt idx="4">
                  <c:v>9487</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Mustela</c:v>
                  </c:pt>
                  <c:pt idx="3">
                    <c:v>Hawaiian Tropic</c:v>
                  </c:pt>
                  <c:pt idx="4">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92"/>
          <c:min val="1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1BE31C-71EB-4BDB-A716-BF7279660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6D5B22-E90F-431A-85F1-385231A4C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5E2AAC-2D21-421B-9726-ED2E60E06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9E8C14-64EE-4DE9-94F6-9F0C81997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BA02CB-136D-47EE-A8EF-9023883AC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2D231A1-3EE2-44C8-AC36-F1435A8B4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63D8EA3-6E08-4B75-BD94-0D1BB4811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03F474E-03F2-4AF0-843D-5CCAECA48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1.17830000000001</c:v>
                </c:pt>
                <c:pt idx="1">
                  <c:v>217.6095</c:v>
                </c:pt>
                <c:pt idx="2">
                  <c:v>81.765600000000006</c:v>
                </c:pt>
                <c:pt idx="3">
                  <c:v>72.943399999999997</c:v>
                </c:pt>
                <c:pt idx="4">
                  <c:v>310.0258</c:v>
                </c:pt>
              </c:numCache>
            </c:numRef>
          </c:xVal>
          <c:yVal>
            <c:numRef>
              <c:f>Sheet1!$B$2:$B$6</c:f>
              <c:numCache>
                <c:formatCode>General</c:formatCode>
                <c:ptCount val="5"/>
                <c:pt idx="0">
                  <c:v>1.3109999999999999</c:v>
                </c:pt>
                <c:pt idx="1">
                  <c:v>1.046</c:v>
                </c:pt>
                <c:pt idx="2">
                  <c:v>0.53300000000000003</c:v>
                </c:pt>
                <c:pt idx="3">
                  <c:v>0.57299999999999995</c:v>
                </c:pt>
                <c:pt idx="4">
                  <c:v>1.702</c:v>
                </c:pt>
              </c:numCache>
            </c:numRef>
          </c:yVal>
          <c:bubbleSize>
            <c:numRef>
              <c:f>Sheet1!$C$2:$C$6</c:f>
              <c:numCache>
                <c:formatCode>General</c:formatCode>
                <c:ptCount val="5"/>
                <c:pt idx="0">
                  <c:v>12335062</c:v>
                </c:pt>
                <c:pt idx="1">
                  <c:v>6660591</c:v>
                </c:pt>
                <c:pt idx="2">
                  <c:v>2139478</c:v>
                </c:pt>
                <c:pt idx="3">
                  <c:v>763280</c:v>
                </c:pt>
                <c:pt idx="4">
                  <c:v>288634</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2"/>
          <c:min val="5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55924A-0B70-498F-976D-8B99FBC45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C42777-ADEF-4DFE-B0BF-B628819B81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4F6D81-C99C-4BF4-8B34-99CDBE3EE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43AC6A-4674-468B-9AD6-23B36E306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C8F73E7-FB06-4A35-9EE5-E0F2C41DD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AD7079E-2C98-4048-8AC2-255BA3DB7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0D1BFE-5DC0-459B-B73B-884674D56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6C5371-E4B2-4B17-8E08-DB149B4DD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0179</c:v>
                </c:pt>
                <c:pt idx="1">
                  <c:v>211.3991</c:v>
                </c:pt>
                <c:pt idx="2">
                  <c:v>225.77189999999999</c:v>
                </c:pt>
                <c:pt idx="3">
                  <c:v>589.75840000000005</c:v>
                </c:pt>
                <c:pt idx="4">
                  <c:v>290.10489999999999</c:v>
                </c:pt>
                <c:pt idx="5">
                  <c:v>87.547899999999998</c:v>
                </c:pt>
                <c:pt idx="6">
                  <c:v>592.57079999999996</c:v>
                </c:pt>
                <c:pt idx="7">
                  <c:v>583.17060000000004</c:v>
                </c:pt>
              </c:numCache>
            </c:numRef>
          </c:xVal>
          <c:yVal>
            <c:numRef>
              <c:f>Sheet1!$B$2:$B$9</c:f>
              <c:numCache>
                <c:formatCode>General</c:formatCode>
                <c:ptCount val="8"/>
                <c:pt idx="0">
                  <c:v>1.0189999999999999</c:v>
                </c:pt>
                <c:pt idx="1">
                  <c:v>0.72799999999999998</c:v>
                </c:pt>
                <c:pt idx="2">
                  <c:v>0.71</c:v>
                </c:pt>
                <c:pt idx="3">
                  <c:v>3.7629999999999999</c:v>
                </c:pt>
                <c:pt idx="4">
                  <c:v>1.915</c:v>
                </c:pt>
                <c:pt idx="5">
                  <c:v>0.434</c:v>
                </c:pt>
                <c:pt idx="6">
                  <c:v>5.1369999999999996</c:v>
                </c:pt>
                <c:pt idx="7">
                  <c:v>6.9880000000000004</c:v>
                </c:pt>
              </c:numCache>
            </c:numRef>
          </c:yVal>
          <c:bubbleSize>
            <c:numRef>
              <c:f>Sheet1!$C$2:$C$9</c:f>
              <c:numCache>
                <c:formatCode>General</c:formatCode>
                <c:ptCount val="8"/>
                <c:pt idx="0">
                  <c:v>77257194</c:v>
                </c:pt>
                <c:pt idx="1">
                  <c:v>38488805</c:v>
                </c:pt>
                <c:pt idx="2">
                  <c:v>24037481</c:v>
                </c:pt>
                <c:pt idx="3">
                  <c:v>17357178</c:v>
                </c:pt>
                <c:pt idx="4">
                  <c:v>16158843</c:v>
                </c:pt>
                <c:pt idx="5">
                  <c:v>9858772</c:v>
                </c:pt>
                <c:pt idx="6">
                  <c:v>6637385</c:v>
                </c:pt>
                <c:pt idx="7">
                  <c:v>5904602</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Eucerin</c:v>
                  </c:pt>
                  <c:pt idx="7">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AB0CC0-F476-4165-BE8A-EB2185403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FB2211-7EAD-4A7E-922B-AF64C0A5D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D7E41B-1A79-47B7-B6BA-6FD2BB9CB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469AAA-A5D9-4E9E-A0B3-6AF060A23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5494287-8716-403D-96AB-ADE99AADF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5230EC-77C2-4716-8B18-1ECB109CD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1BBEBBA-8CB0-42D0-A4E7-5DF102AC9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84FD369-2793-4047-898B-2E63D6FC4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21.15620000000001</c:v>
                </c:pt>
                <c:pt idx="1">
                  <c:v>278.12959999999998</c:v>
                </c:pt>
                <c:pt idx="2">
                  <c:v>484.38729999999998</c:v>
                </c:pt>
                <c:pt idx="3">
                  <c:v>494.68939999999998</c:v>
                </c:pt>
                <c:pt idx="4">
                  <c:v>171.54740000000001</c:v>
                </c:pt>
                <c:pt idx="5">
                  <c:v>472.32940000000002</c:v>
                </c:pt>
              </c:numCache>
            </c:numRef>
          </c:xVal>
          <c:yVal>
            <c:numRef>
              <c:f>Sheet1!$B$2:$B$7</c:f>
              <c:numCache>
                <c:formatCode>General</c:formatCode>
                <c:ptCount val="6"/>
                <c:pt idx="0">
                  <c:v>3.9140000000000001</c:v>
                </c:pt>
                <c:pt idx="1">
                  <c:v>0.69199999999999995</c:v>
                </c:pt>
                <c:pt idx="2">
                  <c:v>2.883</c:v>
                </c:pt>
                <c:pt idx="3">
                  <c:v>8.9039999999999999</c:v>
                </c:pt>
                <c:pt idx="4">
                  <c:v>0.313</c:v>
                </c:pt>
                <c:pt idx="5">
                  <c:v>17.263999999999999</c:v>
                </c:pt>
              </c:numCache>
            </c:numRef>
          </c:yVal>
          <c:bubbleSize>
            <c:numRef>
              <c:f>Sheet1!$C$2:$C$7</c:f>
              <c:numCache>
                <c:formatCode>General</c:formatCode>
                <c:ptCount val="6"/>
                <c:pt idx="0">
                  <c:v>473321</c:v>
                </c:pt>
                <c:pt idx="1">
                  <c:v>212491</c:v>
                </c:pt>
                <c:pt idx="2">
                  <c:v>167598</c:v>
                </c:pt>
                <c:pt idx="3">
                  <c:v>144944</c:v>
                </c:pt>
                <c:pt idx="4">
                  <c:v>81485</c:v>
                </c:pt>
                <c:pt idx="5">
                  <c:v>40148</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Mustela</c:v>
                  </c:pt>
                  <c:pt idx="3">
                    <c:v>La Roche-Posay</c:v>
                  </c:pt>
                  <c:pt idx="4">
                    <c:v>Hawaiian Tropic</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5"/>
          <c:min val="13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84C2AA-3E75-431F-BD07-3FC296C3C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A90E31-A4EA-4145-9CD0-5E4987687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AAAC49-8EDC-4990-A65C-83FEDF9A6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495F2E-7F2C-490C-97E5-A4EB333BA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560357-5FC0-433C-9B8E-8F3EFA4A1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A19855-D0CA-4508-812A-22D701938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B674C1F-2D12-48D5-8979-99AC4CDD6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3292BE0-C469-4CE9-A119-B2E0A31CD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39.75550000000001</c:v>
                </c:pt>
                <c:pt idx="1">
                  <c:v>211.72900000000001</c:v>
                </c:pt>
                <c:pt idx="2">
                  <c:v>223.8245</c:v>
                </c:pt>
                <c:pt idx="3">
                  <c:v>590.55079999999998</c:v>
                </c:pt>
                <c:pt idx="4">
                  <c:v>288.5933</c:v>
                </c:pt>
                <c:pt idx="5">
                  <c:v>84.691199999999995</c:v>
                </c:pt>
                <c:pt idx="6">
                  <c:v>585.46230000000003</c:v>
                </c:pt>
              </c:numCache>
            </c:numRef>
          </c:xVal>
          <c:yVal>
            <c:numRef>
              <c:f>Sheet1!$B$2:$B$8</c:f>
              <c:numCache>
                <c:formatCode>General</c:formatCode>
                <c:ptCount val="7"/>
                <c:pt idx="0">
                  <c:v>1.0489999999999999</c:v>
                </c:pt>
                <c:pt idx="1">
                  <c:v>0.75700000000000001</c:v>
                </c:pt>
                <c:pt idx="2">
                  <c:v>0.72199999999999998</c:v>
                </c:pt>
                <c:pt idx="3">
                  <c:v>4.0620000000000003</c:v>
                </c:pt>
                <c:pt idx="4">
                  <c:v>2.0569999999999999</c:v>
                </c:pt>
                <c:pt idx="5">
                  <c:v>0.44400000000000001</c:v>
                </c:pt>
                <c:pt idx="6">
                  <c:v>5.1210000000000004</c:v>
                </c:pt>
              </c:numCache>
            </c:numRef>
          </c:yVal>
          <c:bubbleSize>
            <c:numRef>
              <c:f>Sheet1!$C$2:$C$8</c:f>
              <c:numCache>
                <c:formatCode>General</c:formatCode>
                <c:ptCount val="7"/>
                <c:pt idx="0">
                  <c:v>90276351</c:v>
                </c:pt>
                <c:pt idx="1">
                  <c:v>42299860</c:v>
                </c:pt>
                <c:pt idx="2">
                  <c:v>32509165</c:v>
                </c:pt>
                <c:pt idx="3">
                  <c:v>17830499</c:v>
                </c:pt>
                <c:pt idx="4">
                  <c:v>16300038</c:v>
                </c:pt>
                <c:pt idx="5">
                  <c:v>12513725</c:v>
                </c:pt>
                <c:pt idx="6">
                  <c:v>7144396</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B94CE6D-F027-467D-AD82-E9C045508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742C29-CF0A-4F13-8F4E-AD2F506CC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32A62BE-CAAC-4FB6-95E9-352EAB203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ED12513-B32C-4448-90E9-1136781F0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E75BC4-2BDF-4A5C-B434-B17D8BF8C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B59B5F-F99D-494B-82B6-67574DCB8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042AEB8-B8DB-43E6-8F46-425111BBF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1C3563A-9331-4AA0-8354-5C01318D0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3.56569999999999</c:v>
                </c:pt>
                <c:pt idx="1">
                  <c:v>241.40860000000001</c:v>
                </c:pt>
                <c:pt idx="2">
                  <c:v>76.486699999999999</c:v>
                </c:pt>
                <c:pt idx="3">
                  <c:v>74.547200000000004</c:v>
                </c:pt>
                <c:pt idx="4">
                  <c:v>698.39509999999996</c:v>
                </c:pt>
                <c:pt idx="5">
                  <c:v>594.69389999999999</c:v>
                </c:pt>
              </c:numCache>
            </c:numRef>
          </c:xVal>
          <c:yVal>
            <c:numRef>
              <c:f>Sheet1!$B$2:$B$7</c:f>
              <c:numCache>
                <c:formatCode>General</c:formatCode>
                <c:ptCount val="6"/>
                <c:pt idx="0">
                  <c:v>1.288</c:v>
                </c:pt>
                <c:pt idx="1">
                  <c:v>1.079</c:v>
                </c:pt>
                <c:pt idx="2">
                  <c:v>0.54900000000000004</c:v>
                </c:pt>
                <c:pt idx="3">
                  <c:v>0.55500000000000005</c:v>
                </c:pt>
                <c:pt idx="4">
                  <c:v>4.0540000000000003</c:v>
                </c:pt>
                <c:pt idx="5">
                  <c:v>2.7639999999999998</c:v>
                </c:pt>
              </c:numCache>
            </c:numRef>
          </c:yVal>
          <c:bubbleSize>
            <c:numRef>
              <c:f>Sheet1!$C$2:$C$7</c:f>
              <c:numCache>
                <c:formatCode>General</c:formatCode>
                <c:ptCount val="6"/>
                <c:pt idx="0">
                  <c:v>11074228</c:v>
                </c:pt>
                <c:pt idx="1">
                  <c:v>6712365</c:v>
                </c:pt>
                <c:pt idx="2">
                  <c:v>2603377</c:v>
                </c:pt>
                <c:pt idx="3">
                  <c:v>1038144</c:v>
                </c:pt>
                <c:pt idx="4">
                  <c:v>399482</c:v>
                </c:pt>
                <c:pt idx="5">
                  <c:v>349680</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La Roche-Posay</c:v>
                  </c:pt>
                  <c:pt idx="5">
                    <c:v>Av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8"/>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1CB1A3-080D-4DBC-99C7-25453DAE0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57DD3D-11DE-4A48-A824-45076F232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D752B0A-AA4A-4887-AF29-EB25C90F3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5321CD9-E393-494B-8D7E-F78E209FE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5ED8696-B9FB-4130-895E-BB73E6698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480C44-8A09-41F0-B215-B49C20FCC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F7AE0D8-B5BF-4DA3-B178-305A79E03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BD0ACD9-8E53-4461-8C4A-90C2BC10E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4.64400000000001</c:v>
                </c:pt>
                <c:pt idx="1">
                  <c:v>216.98830000000001</c:v>
                </c:pt>
                <c:pt idx="2">
                  <c:v>239.3914</c:v>
                </c:pt>
                <c:pt idx="3">
                  <c:v>586.88099999999997</c:v>
                </c:pt>
                <c:pt idx="4">
                  <c:v>296.93049999999999</c:v>
                </c:pt>
                <c:pt idx="5">
                  <c:v>88.240200000000002</c:v>
                </c:pt>
                <c:pt idx="6">
                  <c:v>572.46550000000002</c:v>
                </c:pt>
              </c:numCache>
            </c:numRef>
          </c:xVal>
          <c:yVal>
            <c:numRef>
              <c:f>Sheet1!$B$2:$B$8</c:f>
              <c:numCache>
                <c:formatCode>General</c:formatCode>
                <c:ptCount val="7"/>
                <c:pt idx="0">
                  <c:v>1.0369999999999999</c:v>
                </c:pt>
                <c:pt idx="1">
                  <c:v>0.75</c:v>
                </c:pt>
                <c:pt idx="2">
                  <c:v>0.754</c:v>
                </c:pt>
                <c:pt idx="3">
                  <c:v>3.7080000000000002</c:v>
                </c:pt>
                <c:pt idx="4">
                  <c:v>2.056</c:v>
                </c:pt>
                <c:pt idx="5">
                  <c:v>0.40699999999999997</c:v>
                </c:pt>
                <c:pt idx="6">
                  <c:v>6.4710000000000001</c:v>
                </c:pt>
              </c:numCache>
            </c:numRef>
          </c:yVal>
          <c:bubbleSize>
            <c:numRef>
              <c:f>Sheet1!$C$2:$C$8</c:f>
              <c:numCache>
                <c:formatCode>General</c:formatCode>
                <c:ptCount val="7"/>
                <c:pt idx="0">
                  <c:v>62386660</c:v>
                </c:pt>
                <c:pt idx="1">
                  <c:v>43481848</c:v>
                </c:pt>
                <c:pt idx="2">
                  <c:v>31112739</c:v>
                </c:pt>
                <c:pt idx="3">
                  <c:v>16232541</c:v>
                </c:pt>
                <c:pt idx="4">
                  <c:v>15380108</c:v>
                </c:pt>
                <c:pt idx="5">
                  <c:v>8716542</c:v>
                </c:pt>
                <c:pt idx="6">
                  <c:v>5961083</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4"/>
          <c:min val="7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F6A4CB-27AF-4B7F-9502-B26D32ECD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0DC619-C903-49D6-B5E7-B079FF54A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D0C34E-C514-47DE-ADEF-C098DC76C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9926BB-F801-4C40-A4A1-6FE5CEE95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2C8EF26-E257-44AC-8EFF-A78399B82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579BE4-FC7A-4C5E-A9D4-48CCFEABE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AEFECDC-5B1C-42C6-A26A-B4C14E446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A49CE52-A1B2-478F-B872-94ECA5BFD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06.13559999999995</c:v>
                </c:pt>
                <c:pt idx="1">
                  <c:v>269.39550000000003</c:v>
                </c:pt>
                <c:pt idx="2">
                  <c:v>500.07139999999998</c:v>
                </c:pt>
                <c:pt idx="3">
                  <c:v>490.04419999999999</c:v>
                </c:pt>
                <c:pt idx="4">
                  <c:v>179.2867</c:v>
                </c:pt>
                <c:pt idx="5">
                  <c:v>368.32260000000002</c:v>
                </c:pt>
              </c:numCache>
            </c:numRef>
          </c:xVal>
          <c:yVal>
            <c:numRef>
              <c:f>Sheet1!$B$2:$B$7</c:f>
              <c:numCache>
                <c:formatCode>General</c:formatCode>
                <c:ptCount val="6"/>
                <c:pt idx="0">
                  <c:v>3.9670000000000001</c:v>
                </c:pt>
                <c:pt idx="1">
                  <c:v>0.68899999999999995</c:v>
                </c:pt>
                <c:pt idx="2">
                  <c:v>3.95</c:v>
                </c:pt>
                <c:pt idx="3">
                  <c:v>6.6929999999999996</c:v>
                </c:pt>
                <c:pt idx="4">
                  <c:v>0.36299999999999999</c:v>
                </c:pt>
                <c:pt idx="5">
                  <c:v>7.516</c:v>
                </c:pt>
              </c:numCache>
            </c:numRef>
          </c:yVal>
          <c:bubbleSize>
            <c:numRef>
              <c:f>Sheet1!$C$2:$C$7</c:f>
              <c:numCache>
                <c:formatCode>General</c:formatCode>
                <c:ptCount val="6"/>
                <c:pt idx="0">
                  <c:v>415809</c:v>
                </c:pt>
                <c:pt idx="1">
                  <c:v>215247</c:v>
                </c:pt>
                <c:pt idx="2">
                  <c:v>126018</c:v>
                </c:pt>
                <c:pt idx="3">
                  <c:v>122021</c:v>
                </c:pt>
                <c:pt idx="4">
                  <c:v>76914</c:v>
                </c:pt>
                <c:pt idx="5">
                  <c:v>34254</c:v>
                </c:pt>
              </c:numCache>
            </c:numRef>
          </c:bubbleSize>
          <c:bubble3D val="0"/>
          <c:extLst>
            <c:ext xmlns:c15="http://schemas.microsoft.com/office/drawing/2012/chart" uri="{02D57815-91ED-43cb-92C2-25804820EDAC}">
              <c15:datalabelsRange>
                <c15:f>Sheet1!$E$2:$E$10</c15:f>
                <c15:dlblRangeCache>
                  <c:ptCount val="9"/>
                  <c:pt idx="0">
                    <c:v>Isdin</c:v>
                  </c:pt>
                  <c:pt idx="1">
                    <c:v>Banana Boat</c:v>
                  </c:pt>
                  <c:pt idx="2">
                    <c:v>Mustela</c:v>
                  </c:pt>
                  <c:pt idx="3">
                    <c:v>La Roche-Posay</c:v>
                  </c:pt>
                  <c:pt idx="4">
                    <c:v>Hawaiian Tropic</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7"/>
          <c:min val="1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901AE2-20DF-4AAF-91D2-50F830A94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6BE047-E0C0-49FC-9916-F9FCBF2E4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78844B-AB6D-4092-B660-F72B8924A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0081A6-D61B-4A86-A858-F1D78489D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F8B156-E2E4-4328-A466-A8AE434F9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631427-8CC2-48BE-BD14-B5C5BEE1F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76124C-85D6-409F-BFDC-F8F7AC26F9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D2D8547-691B-4F12-B760-826B917E0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60.8802</c:v>
                </c:pt>
                <c:pt idx="1">
                  <c:v>257.74939999999998</c:v>
                </c:pt>
                <c:pt idx="2">
                  <c:v>78.932100000000005</c:v>
                </c:pt>
                <c:pt idx="3">
                  <c:v>74.726100000000002</c:v>
                </c:pt>
                <c:pt idx="4">
                  <c:v>703.94470000000001</c:v>
                </c:pt>
                <c:pt idx="5">
                  <c:v>604.1472</c:v>
                </c:pt>
                <c:pt idx="6">
                  <c:v>581.92420000000004</c:v>
                </c:pt>
              </c:numCache>
            </c:numRef>
          </c:xVal>
          <c:yVal>
            <c:numRef>
              <c:f>Sheet1!$B$2:$B$8</c:f>
              <c:numCache>
                <c:formatCode>General</c:formatCode>
                <c:ptCount val="7"/>
                <c:pt idx="0">
                  <c:v>1.3029999999999999</c:v>
                </c:pt>
                <c:pt idx="1">
                  <c:v>1.1299999999999999</c:v>
                </c:pt>
                <c:pt idx="2">
                  <c:v>0.52400000000000002</c:v>
                </c:pt>
                <c:pt idx="3">
                  <c:v>0.54500000000000004</c:v>
                </c:pt>
                <c:pt idx="4">
                  <c:v>4.17</c:v>
                </c:pt>
                <c:pt idx="5">
                  <c:v>2.746</c:v>
                </c:pt>
                <c:pt idx="6">
                  <c:v>2.5649999999999999</c:v>
                </c:pt>
              </c:numCache>
            </c:numRef>
          </c:yVal>
          <c:bubbleSize>
            <c:numRef>
              <c:f>Sheet1!$C$2:$C$8</c:f>
              <c:numCache>
                <c:formatCode>General</c:formatCode>
                <c:ptCount val="7"/>
                <c:pt idx="0">
                  <c:v>8828185</c:v>
                </c:pt>
                <c:pt idx="1">
                  <c:v>7927597</c:v>
                </c:pt>
                <c:pt idx="2">
                  <c:v>2649356</c:v>
                </c:pt>
                <c:pt idx="3">
                  <c:v>995501</c:v>
                </c:pt>
                <c:pt idx="4">
                  <c:v>420255</c:v>
                </c:pt>
                <c:pt idx="5">
                  <c:v>336510</c:v>
                </c:pt>
                <c:pt idx="6">
                  <c:v>238007</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pt idx="4">
                    <c:v>La Roche-Posay</c:v>
                  </c:pt>
                  <c:pt idx="5">
                    <c:v>Avene</c:v>
                  </c:pt>
                  <c:pt idx="6">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5"/>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6540CA-F7C4-4B53-867E-79079266A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ED770D-572E-4D89-A6FF-2A464B926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22E3A5-26C9-49F3-AEB0-ABE5EEA2B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887C0C4-5F17-4C6A-9B89-DD5E2C614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93A1D0-1F98-40B4-90D6-87E67C810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C02DE2-43AB-48AE-B93E-436B6544F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ABD0FE-1E14-4A01-8340-439293505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99AE80D-EE26-42C1-856F-EB7AF25AB7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1.34909999999999</c:v>
                </c:pt>
                <c:pt idx="1">
                  <c:v>219.30340000000001</c:v>
                </c:pt>
                <c:pt idx="2">
                  <c:v>245.6148</c:v>
                </c:pt>
                <c:pt idx="3">
                  <c:v>295.54790000000003</c:v>
                </c:pt>
                <c:pt idx="4">
                  <c:v>599.46270000000004</c:v>
                </c:pt>
                <c:pt idx="5">
                  <c:v>84.131200000000007</c:v>
                </c:pt>
                <c:pt idx="6">
                  <c:v>553.62249999999995</c:v>
                </c:pt>
              </c:numCache>
            </c:numRef>
          </c:xVal>
          <c:yVal>
            <c:numRef>
              <c:f>Sheet1!$B$2:$B$8</c:f>
              <c:numCache>
                <c:formatCode>General</c:formatCode>
                <c:ptCount val="7"/>
                <c:pt idx="0">
                  <c:v>1.077</c:v>
                </c:pt>
                <c:pt idx="1">
                  <c:v>0.77700000000000002</c:v>
                </c:pt>
                <c:pt idx="2">
                  <c:v>0.80300000000000005</c:v>
                </c:pt>
                <c:pt idx="3">
                  <c:v>2.069</c:v>
                </c:pt>
                <c:pt idx="4">
                  <c:v>4.165</c:v>
                </c:pt>
                <c:pt idx="5">
                  <c:v>0.42399999999999999</c:v>
                </c:pt>
                <c:pt idx="6">
                  <c:v>7.5510000000000002</c:v>
                </c:pt>
              </c:numCache>
            </c:numRef>
          </c:yVal>
          <c:bubbleSize>
            <c:numRef>
              <c:f>Sheet1!$C$2:$C$8</c:f>
              <c:numCache>
                <c:formatCode>General</c:formatCode>
                <c:ptCount val="7"/>
                <c:pt idx="0">
                  <c:v>61063981</c:v>
                </c:pt>
                <c:pt idx="1">
                  <c:v>31605343</c:v>
                </c:pt>
                <c:pt idx="2">
                  <c:v>24390778</c:v>
                </c:pt>
                <c:pt idx="3">
                  <c:v>9309759</c:v>
                </c:pt>
                <c:pt idx="4">
                  <c:v>5655931</c:v>
                </c:pt>
                <c:pt idx="5">
                  <c:v>4398549</c:v>
                </c:pt>
                <c:pt idx="6">
                  <c:v>3022225</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9"/>
          <c:min val="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9F4903B-33FD-4818-B95D-70942772E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2776C7-9B3E-4671-ACC9-0E7B4608E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BBEF81-3738-4624-9BFB-D3435C03E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F41521-52FA-4C3D-A560-79B28E0E3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14D09C-FB01-4EB6-AD11-4D51BE571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64A2321-9886-41C6-9010-A03627488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0CE7A32-1207-4586-9751-7FDAC942E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88C94E5-BFB7-4F64-B26B-9EA99C3694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9.94139999999999</c:v>
                </c:pt>
                <c:pt idx="1">
                  <c:v>632.34590000000003</c:v>
                </c:pt>
                <c:pt idx="2">
                  <c:v>474.79500000000002</c:v>
                </c:pt>
                <c:pt idx="3">
                  <c:v>555.6875</c:v>
                </c:pt>
                <c:pt idx="4">
                  <c:v>219.75810000000001</c:v>
                </c:pt>
                <c:pt idx="5">
                  <c:v>988.11109999999996</c:v>
                </c:pt>
              </c:numCache>
            </c:numRef>
          </c:xVal>
          <c:yVal>
            <c:numRef>
              <c:f>Sheet1!$B$2:$B$7</c:f>
              <c:numCache>
                <c:formatCode>General</c:formatCode>
                <c:ptCount val="6"/>
                <c:pt idx="0">
                  <c:v>0.754</c:v>
                </c:pt>
                <c:pt idx="1">
                  <c:v>39.856000000000002</c:v>
                </c:pt>
                <c:pt idx="2">
                  <c:v>6.0380000000000003</c:v>
                </c:pt>
                <c:pt idx="3">
                  <c:v>0</c:v>
                </c:pt>
                <c:pt idx="4">
                  <c:v>0.56100000000000005</c:v>
                </c:pt>
                <c:pt idx="5">
                  <c:v>0</c:v>
                </c:pt>
              </c:numCache>
            </c:numRef>
          </c:yVal>
          <c:bubbleSize>
            <c:numRef>
              <c:f>Sheet1!$C$2:$C$7</c:f>
              <c:numCache>
                <c:formatCode>General</c:formatCode>
                <c:ptCount val="6"/>
                <c:pt idx="0">
                  <c:v>179781</c:v>
                </c:pt>
                <c:pt idx="1">
                  <c:v>168204</c:v>
                </c:pt>
                <c:pt idx="2">
                  <c:v>76442</c:v>
                </c:pt>
                <c:pt idx="3">
                  <c:v>35564</c:v>
                </c:pt>
                <c:pt idx="4">
                  <c:v>27250</c:v>
                </c:pt>
                <c:pt idx="5">
                  <c:v>8893</c:v>
                </c:pt>
              </c:numCache>
            </c:numRef>
          </c:bubbleSize>
          <c:bubble3D val="0"/>
          <c:extLst>
            <c:ext xmlns:c15="http://schemas.microsoft.com/office/drawing/2012/chart" uri="{02D57815-91ED-43cb-92C2-25804820EDAC}">
              <c15:datalabelsRange>
                <c15:f>Sheet1!$E$2:$E$10</c15:f>
                <c15:dlblRangeCache>
                  <c:ptCount val="9"/>
                  <c:pt idx="0">
                    <c:v>Banana Boat</c:v>
                  </c:pt>
                  <c:pt idx="1">
                    <c:v>Isdin</c:v>
                  </c:pt>
                  <c:pt idx="2">
                    <c:v>Mustela</c:v>
                  </c:pt>
                  <c:pt idx="3">
                    <c:v>La Roche-Posay</c:v>
                  </c:pt>
                  <c:pt idx="4">
                    <c:v>Hawaiian Tropic</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6"/>
          <c:min val="17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1D1D85-178A-43D6-8DB0-C6D5CBD8D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2C40C9-EDDF-4987-A612-0113917C43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8593B3-7A0B-4727-8B0E-2A5232F3F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F070AF-6D6F-436D-914F-0BA9B8CB4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D0F1DFB-9B34-483C-BEB9-079614C89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B1EF686-543E-4BEC-96B3-41EED3070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2B0E4E4-2205-4E27-BC24-89E9DF528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B2F366D-4AEF-42F1-8C9C-F5B11E1A0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52.07159999999999</c:v>
                </c:pt>
                <c:pt idx="1">
                  <c:v>251.59039999999999</c:v>
                </c:pt>
                <c:pt idx="2">
                  <c:v>70.286000000000001</c:v>
                </c:pt>
                <c:pt idx="3">
                  <c:v>73.144199999999998</c:v>
                </c:pt>
              </c:numCache>
            </c:numRef>
          </c:xVal>
          <c:yVal>
            <c:numRef>
              <c:f>Sheet1!$B$2:$B$5</c:f>
              <c:numCache>
                <c:formatCode>General</c:formatCode>
                <c:ptCount val="4"/>
                <c:pt idx="0">
                  <c:v>1.23</c:v>
                </c:pt>
                <c:pt idx="1">
                  <c:v>1.083</c:v>
                </c:pt>
                <c:pt idx="2">
                  <c:v>0.48399999999999999</c:v>
                </c:pt>
                <c:pt idx="3">
                  <c:v>0.50700000000000001</c:v>
                </c:pt>
              </c:numCache>
            </c:numRef>
          </c:yVal>
          <c:bubbleSize>
            <c:numRef>
              <c:f>Sheet1!$C$2:$C$5</c:f>
              <c:numCache>
                <c:formatCode>General</c:formatCode>
                <c:ptCount val="4"/>
                <c:pt idx="0">
                  <c:v>7751455</c:v>
                </c:pt>
                <c:pt idx="1">
                  <c:v>5581029</c:v>
                </c:pt>
                <c:pt idx="2">
                  <c:v>1108551</c:v>
                </c:pt>
                <c:pt idx="3">
                  <c:v>411290</c:v>
                </c:pt>
              </c:numCache>
            </c:numRef>
          </c:bubbleSize>
          <c:bubble3D val="0"/>
          <c:extLst>
            <c:ext xmlns:c15="http://schemas.microsoft.com/office/drawing/2012/chart" uri="{02D57815-91ED-43cb-92C2-25804820EDAC}">
              <c15:datalabelsRange>
                <c15:f>Sheet1!$E$2:$E$10</c15:f>
                <c15:dlblRangeCache>
                  <c:ptCount val="9"/>
                  <c:pt idx="0">
                    <c:v>Nivea</c:v>
                  </c:pt>
                  <c:pt idx="1">
                    <c:v>Banana Boat</c:v>
                  </c:pt>
                  <c:pt idx="2">
                    <c:v>Caribbean Beach</c:v>
                  </c:pt>
                  <c:pt idx="3">
                    <c:v>Nuv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2"/>
          <c:min val="5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17831A-602A-4303-AA56-2449C13FF1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D6B71F-F74D-46F2-9EE4-00DBD7D91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181BFF-15AC-4E39-B490-FE9DED3AF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36E1C3-5243-4E1A-A98F-D17C56D15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F8F3E0-EB23-481D-9B90-3695C7FA8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78A4CA3-94F4-42B4-97EC-35B605E1E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6CDCC89-64D3-4BFC-A94F-93EB46A88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B761207-3632-484B-B9A9-3ED3C5E4B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3.31460000000001</c:v>
                </c:pt>
                <c:pt idx="1">
                  <c:v>211.96719999999999</c:v>
                </c:pt>
                <c:pt idx="2">
                  <c:v>216.7766</c:v>
                </c:pt>
                <c:pt idx="3">
                  <c:v>89.0047</c:v>
                </c:pt>
                <c:pt idx="4">
                  <c:v>74.360500000000002</c:v>
                </c:pt>
                <c:pt idx="5">
                  <c:v>206.30250000000001</c:v>
                </c:pt>
              </c:numCache>
            </c:numRef>
          </c:xVal>
          <c:yVal>
            <c:numRef>
              <c:f>Sheet1!$B$2:$B$7</c:f>
              <c:numCache>
                <c:formatCode>General</c:formatCode>
                <c:ptCount val="6"/>
                <c:pt idx="0">
                  <c:v>1.228</c:v>
                </c:pt>
                <c:pt idx="1">
                  <c:v>0.89900000000000002</c:v>
                </c:pt>
                <c:pt idx="2">
                  <c:v>0.89</c:v>
                </c:pt>
                <c:pt idx="3">
                  <c:v>0.49399999999999999</c:v>
                </c:pt>
                <c:pt idx="4">
                  <c:v>0.45700000000000002</c:v>
                </c:pt>
                <c:pt idx="5">
                  <c:v>2.9630000000000001</c:v>
                </c:pt>
              </c:numCache>
            </c:numRef>
          </c:yVal>
          <c:bubbleSize>
            <c:numRef>
              <c:f>Sheet1!$C$2:$C$7</c:f>
              <c:numCache>
                <c:formatCode>General</c:formatCode>
                <c:ptCount val="6"/>
                <c:pt idx="0">
                  <c:v>523432960</c:v>
                </c:pt>
                <c:pt idx="1">
                  <c:v>195439881</c:v>
                </c:pt>
                <c:pt idx="2">
                  <c:v>125391144</c:v>
                </c:pt>
                <c:pt idx="3">
                  <c:v>45802720</c:v>
                </c:pt>
                <c:pt idx="4">
                  <c:v>23746346</c:v>
                </c:pt>
                <c:pt idx="5">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D6A995-11D5-40EA-A3AC-216B1237F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E8E63E-093C-42A3-B4AA-C6E842F5C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BEE1B2-A94E-4EB9-9BD1-107CBFD08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BE76EA-C1AE-4E81-BF19-5C9EBB154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E74BE1-3A8C-4419-89B8-678288C3D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F250FE-FAF3-40BB-9CAB-98B557CAC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70AA97-47CD-4534-8917-6033F2447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0243CBD-B07A-4602-93B7-5DA361C85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77.1653</c:v>
                </c:pt>
                <c:pt idx="1">
                  <c:v>290.39089999999999</c:v>
                </c:pt>
                <c:pt idx="2">
                  <c:v>563.72080000000005</c:v>
                </c:pt>
                <c:pt idx="3">
                  <c:v>575.97080000000005</c:v>
                </c:pt>
                <c:pt idx="4">
                  <c:v>539.51080000000002</c:v>
                </c:pt>
                <c:pt idx="5">
                  <c:v>321.15899999999999</c:v>
                </c:pt>
                <c:pt idx="6">
                  <c:v>535.15009999999995</c:v>
                </c:pt>
              </c:numCache>
            </c:numRef>
          </c:xVal>
          <c:yVal>
            <c:numRef>
              <c:f>Sheet1!$B$2:$B$8</c:f>
              <c:numCache>
                <c:formatCode>General</c:formatCode>
                <c:ptCount val="7"/>
                <c:pt idx="0">
                  <c:v>1.419</c:v>
                </c:pt>
                <c:pt idx="1">
                  <c:v>0.68799999999999994</c:v>
                </c:pt>
                <c:pt idx="2">
                  <c:v>2.1349999999999998</c:v>
                </c:pt>
                <c:pt idx="3">
                  <c:v>1.708</c:v>
                </c:pt>
                <c:pt idx="4">
                  <c:v>1.4450000000000001</c:v>
                </c:pt>
                <c:pt idx="5">
                  <c:v>0.83499999999999996</c:v>
                </c:pt>
                <c:pt idx="6">
                  <c:v>1.907</c:v>
                </c:pt>
              </c:numCache>
            </c:numRef>
          </c:yVal>
          <c:bubbleSize>
            <c:numRef>
              <c:f>Sheet1!$C$2:$C$8</c:f>
              <c:numCache>
                <c:formatCode>General</c:formatCode>
                <c:ptCount val="7"/>
                <c:pt idx="0">
                  <c:v>108131910</c:v>
                </c:pt>
                <c:pt idx="1">
                  <c:v>99186490</c:v>
                </c:pt>
                <c:pt idx="2">
                  <c:v>44526055</c:v>
                </c:pt>
                <c:pt idx="3">
                  <c:v>39227065</c:v>
                </c:pt>
                <c:pt idx="4">
                  <c:v>23762215</c:v>
                </c:pt>
                <c:pt idx="5">
                  <c:v>13025888</c:v>
                </c:pt>
                <c:pt idx="6">
                  <c:v>11742263</c:v>
                </c:pt>
              </c:numCache>
            </c:numRef>
          </c:bubbleSize>
          <c:bubble3D val="0"/>
          <c:extLst>
            <c:ext xmlns:c15="http://schemas.microsoft.com/office/drawing/2012/chart" uri="{02D57815-91ED-43cb-92C2-25804820EDAC}">
              <c15:datalabelsRange>
                <c15:f>Sheet1!$E$2:$E$10</c15:f>
                <c15:dlblRangeCache>
                  <c:ptCount val="9"/>
                  <c:pt idx="0">
                    <c:v>Isdin</c:v>
                  </c:pt>
                  <c:pt idx="1">
                    <c:v>Neutrogena</c:v>
                  </c:pt>
                  <c:pt idx="2">
                    <c:v>La Roche-Posay</c:v>
                  </c:pt>
                  <c:pt idx="3">
                    <c:v>Eucerin</c:v>
                  </c:pt>
                  <c:pt idx="4">
                    <c:v>Avene</c:v>
                  </c:pt>
                  <c:pt idx="5">
                    <c:v>Eclipsol</c:v>
                  </c:pt>
                  <c:pt idx="6">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2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B70B1C-586E-4179-9BCA-E7EC3A12B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329B1F-3005-4072-A455-20A46DB49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149515-52FB-428D-B78A-105732EAA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71C8CC0-0B87-47B9-84DE-14FD62E3F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81A51E4-B750-45A4-A0CA-491D97255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B91DB4D-9354-4DD7-8C8A-768103916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5C9ACE1-09FA-4780-9118-484F6832AB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0F030E4-5EA8-4437-83F9-E16403EB2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8.97280000000001</c:v>
                </c:pt>
                <c:pt idx="1">
                  <c:v>198.7268</c:v>
                </c:pt>
                <c:pt idx="2">
                  <c:v>74.766199999999998</c:v>
                </c:pt>
              </c:numCache>
            </c:numRef>
          </c:xVal>
          <c:yVal>
            <c:numRef>
              <c:f>Sheet1!$B$2:$B$4</c:f>
              <c:numCache>
                <c:formatCode>General</c:formatCode>
                <c:ptCount val="3"/>
                <c:pt idx="0">
                  <c:v>1.1319999999999999</c:v>
                </c:pt>
                <c:pt idx="1">
                  <c:v>1.077</c:v>
                </c:pt>
                <c:pt idx="2">
                  <c:v>0.59099999999999997</c:v>
                </c:pt>
              </c:numCache>
            </c:numRef>
          </c:yVal>
          <c:bubbleSize>
            <c:numRef>
              <c:f>Sheet1!$C$2:$C$4</c:f>
              <c:numCache>
                <c:formatCode>General</c:formatCode>
                <c:ptCount val="3"/>
                <c:pt idx="0">
                  <c:v>79888408</c:v>
                </c:pt>
                <c:pt idx="1">
                  <c:v>51049534</c:v>
                </c:pt>
                <c:pt idx="2">
                  <c:v>16190032</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9"/>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11662E-AEFD-4D9F-93C4-2F60C0A9B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BD5B70-33C0-4E9B-9DD2-2C6FA9B95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516411-B131-4BB9-8ADD-2AB7510B6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6692B58-697F-4517-AD40-13FE83AD4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5B3DBF-FECA-44EC-9EE1-6D05C5F73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4E603FE-DD07-4E42-8045-BF215A194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CD799B1-7F33-4136-9EA4-9C290CF71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253B806-544C-44F3-BCD6-4AE700D70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4.00409999999999</c:v>
                </c:pt>
                <c:pt idx="1">
                  <c:v>217.155</c:v>
                </c:pt>
                <c:pt idx="2">
                  <c:v>236.11</c:v>
                </c:pt>
                <c:pt idx="3">
                  <c:v>587.34699999999998</c:v>
                </c:pt>
                <c:pt idx="4">
                  <c:v>294.1069</c:v>
                </c:pt>
                <c:pt idx="5">
                  <c:v>85.754199999999997</c:v>
                </c:pt>
                <c:pt idx="6">
                  <c:v>531.87360000000001</c:v>
                </c:pt>
              </c:numCache>
            </c:numRef>
          </c:xVal>
          <c:yVal>
            <c:numRef>
              <c:f>Sheet1!$B$2:$B$8</c:f>
              <c:numCache>
                <c:formatCode>General</c:formatCode>
                <c:ptCount val="7"/>
                <c:pt idx="0">
                  <c:v>1.0669999999999999</c:v>
                </c:pt>
                <c:pt idx="1">
                  <c:v>0.78100000000000003</c:v>
                </c:pt>
                <c:pt idx="2">
                  <c:v>0.76300000000000001</c:v>
                </c:pt>
                <c:pt idx="3">
                  <c:v>4.016</c:v>
                </c:pt>
                <c:pt idx="4">
                  <c:v>2.214</c:v>
                </c:pt>
                <c:pt idx="5">
                  <c:v>0.42199999999999999</c:v>
                </c:pt>
                <c:pt idx="6">
                  <c:v>6.5830000000000002</c:v>
                </c:pt>
              </c:numCache>
            </c:numRef>
          </c:yVal>
          <c:bubbleSize>
            <c:numRef>
              <c:f>Sheet1!$C$2:$C$8</c:f>
              <c:numCache>
                <c:formatCode>General</c:formatCode>
                <c:ptCount val="7"/>
                <c:pt idx="0">
                  <c:v>73169020</c:v>
                </c:pt>
                <c:pt idx="1">
                  <c:v>47917858</c:v>
                </c:pt>
                <c:pt idx="2">
                  <c:v>41380400</c:v>
                </c:pt>
                <c:pt idx="3">
                  <c:v>16648350</c:v>
                </c:pt>
                <c:pt idx="4">
                  <c:v>15534431</c:v>
                </c:pt>
                <c:pt idx="5">
                  <c:v>11401966</c:v>
                </c:pt>
                <c:pt idx="6">
                  <c:v>7256352</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
          <c:min val="6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57B097-6384-44D9-984C-194EF8B15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92CFE1-8318-4577-9934-406FC5166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685786-ED43-462C-ADD8-D8A5E41B3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ACE139-3685-4482-B76B-254DBFC5BE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E779E24-C337-4C0D-A327-77283E149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BF3824-1D83-462B-B945-375056C589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0F97D47-B3D4-4590-90CC-67A1607D9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DA3C081-1B62-4ACD-A93E-CFBC71D78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3.2715</c:v>
                </c:pt>
                <c:pt idx="1">
                  <c:v>202.05410000000001</c:v>
                </c:pt>
                <c:pt idx="2">
                  <c:v>210.22110000000001</c:v>
                </c:pt>
                <c:pt idx="3">
                  <c:v>88.932699999999997</c:v>
                </c:pt>
                <c:pt idx="4">
                  <c:v>74.712599999999995</c:v>
                </c:pt>
                <c:pt idx="5">
                  <c:v>227.98609999999999</c:v>
                </c:pt>
              </c:numCache>
            </c:numRef>
          </c:xVal>
          <c:yVal>
            <c:numRef>
              <c:f>Sheet1!$B$2:$B$7</c:f>
              <c:numCache>
                <c:formatCode>General</c:formatCode>
                <c:ptCount val="6"/>
                <c:pt idx="0">
                  <c:v>1.228</c:v>
                </c:pt>
                <c:pt idx="1">
                  <c:v>0.89</c:v>
                </c:pt>
                <c:pt idx="2">
                  <c:v>0.84799999999999998</c:v>
                </c:pt>
                <c:pt idx="3">
                  <c:v>0.48599999999999999</c:v>
                </c:pt>
                <c:pt idx="4">
                  <c:v>0.45400000000000001</c:v>
                </c:pt>
                <c:pt idx="5">
                  <c:v>3.1619999999999999</c:v>
                </c:pt>
              </c:numCache>
            </c:numRef>
          </c:yVal>
          <c:bubbleSize>
            <c:numRef>
              <c:f>Sheet1!$C$2:$C$7</c:f>
              <c:numCache>
                <c:formatCode>General</c:formatCode>
                <c:ptCount val="6"/>
                <c:pt idx="0">
                  <c:v>111274571</c:v>
                </c:pt>
                <c:pt idx="1">
                  <c:v>42646557</c:v>
                </c:pt>
                <c:pt idx="2">
                  <c:v>26225287</c:v>
                </c:pt>
                <c:pt idx="3">
                  <c:v>9310814</c:v>
                </c:pt>
                <c:pt idx="4">
                  <c:v>6583303</c:v>
                </c:pt>
                <c:pt idx="5">
                  <c:v>301762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76706B-374B-45C0-9F83-63A8FC0C7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A1B852-4509-4345-A502-315B1EE53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51C437-0211-4531-B8B3-9A381F273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A51085-E93C-446D-AD5E-B4337A2CCF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6E9E4E-ABAF-4357-98F8-C57D0694C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CDD41A-EC19-4707-AA40-D4E2642B3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7ACDBB-88BF-434F-8BFC-18A35A6BD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50975B9-6D9E-4670-8EAF-735F01E26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89.72550000000001</c:v>
                </c:pt>
                <c:pt idx="1">
                  <c:v>591.12919999999997</c:v>
                </c:pt>
                <c:pt idx="2">
                  <c:v>569.41700000000003</c:v>
                </c:pt>
                <c:pt idx="3">
                  <c:v>592.00930000000005</c:v>
                </c:pt>
                <c:pt idx="4">
                  <c:v>556.07929999999999</c:v>
                </c:pt>
                <c:pt idx="5">
                  <c:v>326.05040000000002</c:v>
                </c:pt>
                <c:pt idx="6">
                  <c:v>385.44869999999997</c:v>
                </c:pt>
              </c:numCache>
            </c:numRef>
          </c:xVal>
          <c:yVal>
            <c:numRef>
              <c:f>Sheet1!$B$2:$B$8</c:f>
              <c:numCache>
                <c:formatCode>General</c:formatCode>
                <c:ptCount val="7"/>
                <c:pt idx="0">
                  <c:v>0.71199999999999997</c:v>
                </c:pt>
                <c:pt idx="1">
                  <c:v>1.508</c:v>
                </c:pt>
                <c:pt idx="2">
                  <c:v>1.7490000000000001</c:v>
                </c:pt>
                <c:pt idx="3">
                  <c:v>2.423</c:v>
                </c:pt>
                <c:pt idx="4">
                  <c:v>1.486</c:v>
                </c:pt>
                <c:pt idx="5">
                  <c:v>0.85899999999999999</c:v>
                </c:pt>
                <c:pt idx="6">
                  <c:v>1.347</c:v>
                </c:pt>
              </c:numCache>
            </c:numRef>
          </c:yVal>
          <c:bubbleSize>
            <c:numRef>
              <c:f>Sheet1!$C$2:$C$8</c:f>
              <c:numCache>
                <c:formatCode>General</c:formatCode>
                <c:ptCount val="7"/>
                <c:pt idx="0">
                  <c:v>27304308</c:v>
                </c:pt>
                <c:pt idx="1">
                  <c:v>25478849</c:v>
                </c:pt>
                <c:pt idx="2">
                  <c:v>9237082</c:v>
                </c:pt>
                <c:pt idx="3">
                  <c:v>7009390</c:v>
                </c:pt>
                <c:pt idx="4">
                  <c:v>3777447</c:v>
                </c:pt>
                <c:pt idx="5">
                  <c:v>3575795</c:v>
                </c:pt>
                <c:pt idx="6">
                  <c:v>2497322</c:v>
                </c:pt>
              </c:numCache>
            </c:numRef>
          </c:bubbleSize>
          <c:bubble3D val="0"/>
          <c:extLst>
            <c:ext xmlns:c15="http://schemas.microsoft.com/office/drawing/2012/chart" uri="{02D57815-91ED-43cb-92C2-25804820EDAC}">
              <c15:datalabelsRange>
                <c15:f>Sheet1!$E$2:$E$10</c15:f>
                <c15:dlblRangeCache>
                  <c:ptCount val="9"/>
                  <c:pt idx="0">
                    <c:v>Neutrogena</c:v>
                  </c:pt>
                  <c:pt idx="1">
                    <c:v>Isdin</c:v>
                  </c:pt>
                  <c:pt idx="2">
                    <c:v>Eucerin</c:v>
                  </c:pt>
                  <c:pt idx="3">
                    <c:v>La Roche-Posay</c:v>
                  </c:pt>
                  <c:pt idx="4">
                    <c:v>Avene</c:v>
                  </c:pt>
                  <c:pt idx="5">
                    <c:v>Eclipsol</c:v>
                  </c:pt>
                  <c:pt idx="6">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
          <c:min val="2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22CF6D-CB5F-4702-AED6-B5FF4203D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965CFD-F4E9-4233-876C-A669250E06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CDF5B5-AB57-4831-8681-C96A1BDE5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860D581-D09C-4D22-BBC4-1DA50FABC1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3B32AC8-4C94-459C-AE9C-860574AF0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78D013A-B21A-46A1-A7A7-BE4C56F6D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ED8F443-0278-4ECC-8F73-E559E22EE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389815F-3583-4E50-A684-171CBD9BD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5.53890000000001</c:v>
                </c:pt>
                <c:pt idx="1">
                  <c:v>176.99930000000001</c:v>
                </c:pt>
                <c:pt idx="2">
                  <c:v>75.227500000000006</c:v>
                </c:pt>
              </c:numCache>
            </c:numRef>
          </c:xVal>
          <c:yVal>
            <c:numRef>
              <c:f>Sheet1!$B$2:$B$4</c:f>
              <c:numCache>
                <c:formatCode>General</c:formatCode>
                <c:ptCount val="3"/>
                <c:pt idx="0">
                  <c:v>1.145</c:v>
                </c:pt>
                <c:pt idx="1">
                  <c:v>1.121</c:v>
                </c:pt>
                <c:pt idx="2">
                  <c:v>0.57999999999999996</c:v>
                </c:pt>
              </c:numCache>
            </c:numRef>
          </c:yVal>
          <c:bubbleSize>
            <c:numRef>
              <c:f>Sheet1!$C$2:$C$4</c:f>
              <c:numCache>
                <c:formatCode>General</c:formatCode>
                <c:ptCount val="3"/>
                <c:pt idx="0">
                  <c:v>13487454</c:v>
                </c:pt>
                <c:pt idx="1">
                  <c:v>11637350</c:v>
                </c:pt>
                <c:pt idx="2">
                  <c:v>3710219</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BB55015-678C-400C-A9EB-1B96C2954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25CF1E-237B-4471-8800-A4D7FE77C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D526B4-ECCA-4287-A958-2ADF63405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3BEDAB-59B9-488C-9152-B7B4BA965A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9B0C1D6-D09C-4AFA-A9DE-4162C8350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0FA724-03FE-4150-A4AD-99B997FEE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A891BBD-0F98-4B7E-B1CE-02E2C3834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F309BFD-2370-47D5-B46B-05B178FBC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4.6602</c:v>
                </c:pt>
                <c:pt idx="1">
                  <c:v>198.59870000000001</c:v>
                </c:pt>
                <c:pt idx="2">
                  <c:v>192.91290000000001</c:v>
                </c:pt>
                <c:pt idx="3">
                  <c:v>87.215800000000002</c:v>
                </c:pt>
                <c:pt idx="4">
                  <c:v>74.168000000000006</c:v>
                </c:pt>
                <c:pt idx="5">
                  <c:v>220.01349999999999</c:v>
                </c:pt>
              </c:numCache>
            </c:numRef>
          </c:xVal>
          <c:yVal>
            <c:numRef>
              <c:f>Sheet1!$B$2:$B$7</c:f>
              <c:numCache>
                <c:formatCode>General</c:formatCode>
                <c:ptCount val="6"/>
                <c:pt idx="0">
                  <c:v>1.2749999999999999</c:v>
                </c:pt>
                <c:pt idx="1">
                  <c:v>0.85499999999999998</c:v>
                </c:pt>
                <c:pt idx="2">
                  <c:v>0.85899999999999999</c:v>
                </c:pt>
                <c:pt idx="3">
                  <c:v>0.47699999999999998</c:v>
                </c:pt>
                <c:pt idx="4">
                  <c:v>0.44600000000000001</c:v>
                </c:pt>
                <c:pt idx="5">
                  <c:v>3.0779999999999998</c:v>
                </c:pt>
              </c:numCache>
            </c:numRef>
          </c:yVal>
          <c:bubbleSize>
            <c:numRef>
              <c:f>Sheet1!$C$2:$C$7</c:f>
              <c:numCache>
                <c:formatCode>General</c:formatCode>
                <c:ptCount val="6"/>
                <c:pt idx="0">
                  <c:v>76877378</c:v>
                </c:pt>
                <c:pt idx="1">
                  <c:v>26121485</c:v>
                </c:pt>
                <c:pt idx="2">
                  <c:v>20488126</c:v>
                </c:pt>
                <c:pt idx="3">
                  <c:v>7108348</c:v>
                </c:pt>
                <c:pt idx="4">
                  <c:v>3174094</c:v>
                </c:pt>
                <c:pt idx="5">
                  <c:v>1917198</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4"/>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7192E0-CD50-4D98-AA3C-66430BC5F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568462-217E-4EEB-891A-B2D67047A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204805-3AA4-488C-ACA7-8464F2D6E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3705CA-D441-4E21-A439-C66E5EC12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675FC45-85AF-41A1-BA4D-AA84B1CE07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47F9D6-946A-47B9-AAF0-899004C8A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608CF7-64A9-4C61-B6B9-D348146B9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A808316-FA95-47F9-B9F4-31F1CCC25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52.87279999999998</c:v>
                </c:pt>
                <c:pt idx="1">
                  <c:v>544.99419999999998</c:v>
                </c:pt>
                <c:pt idx="2">
                  <c:v>292.4042</c:v>
                </c:pt>
                <c:pt idx="3">
                  <c:v>574.2405</c:v>
                </c:pt>
                <c:pt idx="4">
                  <c:v>521.06539999999995</c:v>
                </c:pt>
                <c:pt idx="5">
                  <c:v>613.47059999999999</c:v>
                </c:pt>
                <c:pt idx="6">
                  <c:v>493.8476</c:v>
                </c:pt>
              </c:numCache>
            </c:numRef>
          </c:xVal>
          <c:yVal>
            <c:numRef>
              <c:f>Sheet1!$B$2:$B$8</c:f>
              <c:numCache>
                <c:formatCode>General</c:formatCode>
                <c:ptCount val="7"/>
                <c:pt idx="0">
                  <c:v>1.2110000000000001</c:v>
                </c:pt>
                <c:pt idx="1">
                  <c:v>1.61</c:v>
                </c:pt>
                <c:pt idx="2">
                  <c:v>0.59499999999999997</c:v>
                </c:pt>
                <c:pt idx="3">
                  <c:v>1.413</c:v>
                </c:pt>
                <c:pt idx="4">
                  <c:v>1.1579999999999999</c:v>
                </c:pt>
                <c:pt idx="5">
                  <c:v>0.875</c:v>
                </c:pt>
                <c:pt idx="6">
                  <c:v>1.44</c:v>
                </c:pt>
              </c:numCache>
            </c:numRef>
          </c:yVal>
          <c:bubbleSize>
            <c:numRef>
              <c:f>Sheet1!$C$2:$C$8</c:f>
              <c:numCache>
                <c:formatCode>General</c:formatCode>
                <c:ptCount val="7"/>
                <c:pt idx="0">
                  <c:v>38563986</c:v>
                </c:pt>
                <c:pt idx="1">
                  <c:v>20599144</c:v>
                </c:pt>
                <c:pt idx="2">
                  <c:v>19050720</c:v>
                </c:pt>
                <c:pt idx="3">
                  <c:v>12851502</c:v>
                </c:pt>
                <c:pt idx="4">
                  <c:v>10428081</c:v>
                </c:pt>
                <c:pt idx="5">
                  <c:v>4896109</c:v>
                </c:pt>
                <c:pt idx="6">
                  <c:v>4599203</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Neutrogena</c:v>
                  </c:pt>
                  <c:pt idx="3">
                    <c:v>Eucerin</c:v>
                  </c:pt>
                  <c:pt idx="4">
                    <c:v>Avene</c:v>
                  </c:pt>
                  <c:pt idx="5">
                    <c:v>Vichy</c:v>
                  </c:pt>
                  <c:pt idx="6">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6"/>
          <c:min val="23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47AF21-DFDE-4014-B95F-FC797C0AB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F165EB-FD22-419B-97A6-38A3A42A8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422704-1111-48E3-8B0C-831EE5DAA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54080E4-7374-4985-9E40-88C39A7F3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1266B31-4300-4E63-8A6D-DC451AF7C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3FF19DA-0593-4FD8-A525-E16102BFB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67A0B7F-850F-4BCF-9CF9-35BE500CD9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128E196-F9EB-45BF-80A0-5EBE0F4B8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27.53809999999999</c:v>
                </c:pt>
                <c:pt idx="1">
                  <c:v>181.97620000000001</c:v>
                </c:pt>
                <c:pt idx="2">
                  <c:v>73.250200000000007</c:v>
                </c:pt>
              </c:numCache>
            </c:numRef>
          </c:xVal>
          <c:yVal>
            <c:numRef>
              <c:f>Sheet1!$B$2:$B$4</c:f>
              <c:numCache>
                <c:formatCode>General</c:formatCode>
                <c:ptCount val="3"/>
                <c:pt idx="0">
                  <c:v>1.1140000000000001</c:v>
                </c:pt>
                <c:pt idx="1">
                  <c:v>1.1020000000000001</c:v>
                </c:pt>
                <c:pt idx="2">
                  <c:v>0.627</c:v>
                </c:pt>
              </c:numCache>
            </c:numRef>
          </c:yVal>
          <c:bubbleSize>
            <c:numRef>
              <c:f>Sheet1!$C$2:$C$4</c:f>
              <c:numCache>
                <c:formatCode>General</c:formatCode>
                <c:ptCount val="3"/>
                <c:pt idx="0">
                  <c:v>10876777</c:v>
                </c:pt>
                <c:pt idx="1">
                  <c:v>6204479</c:v>
                </c:pt>
                <c:pt idx="2">
                  <c:v>2373891</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3"/>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D855D1-5777-4D6F-A9EA-90CE99885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06A9D0-A62F-46E4-9E11-6FC8D6CEC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26CF9B-7770-4BE5-A782-1E0E2D598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9BC522-6141-46D4-9011-006D0CF6B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BD6829-8E50-43F2-A380-3057F0FDE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CFD7ED-4554-431E-8F80-42B5B6F51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2020EB6-82C4-4108-BA6C-F8FF2550E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96EB79F-0BD8-480D-9F95-B100AF295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1934</c:v>
                </c:pt>
                <c:pt idx="1">
                  <c:v>221.78880000000001</c:v>
                </c:pt>
                <c:pt idx="2">
                  <c:v>222.16919999999999</c:v>
                </c:pt>
                <c:pt idx="3">
                  <c:v>91.467699999999994</c:v>
                </c:pt>
                <c:pt idx="4">
                  <c:v>73.717100000000002</c:v>
                </c:pt>
                <c:pt idx="5">
                  <c:v>156.0933</c:v>
                </c:pt>
              </c:numCache>
            </c:numRef>
          </c:xVal>
          <c:yVal>
            <c:numRef>
              <c:f>Sheet1!$B$2:$B$7</c:f>
              <c:numCache>
                <c:formatCode>General</c:formatCode>
                <c:ptCount val="6"/>
                <c:pt idx="0">
                  <c:v>1.1859999999999999</c:v>
                </c:pt>
                <c:pt idx="1">
                  <c:v>0.90900000000000003</c:v>
                </c:pt>
                <c:pt idx="2">
                  <c:v>0.92300000000000004</c:v>
                </c:pt>
                <c:pt idx="3">
                  <c:v>0.496</c:v>
                </c:pt>
                <c:pt idx="4">
                  <c:v>0.46899999999999997</c:v>
                </c:pt>
                <c:pt idx="5">
                  <c:v>2.363</c:v>
                </c:pt>
              </c:numCache>
            </c:numRef>
          </c:yVal>
          <c:bubbleSize>
            <c:numRef>
              <c:f>Sheet1!$C$2:$C$7</c:f>
              <c:numCache>
                <c:formatCode>General</c:formatCode>
                <c:ptCount val="6"/>
                <c:pt idx="0">
                  <c:v>106919192</c:v>
                </c:pt>
                <c:pt idx="1">
                  <c:v>35460921</c:v>
                </c:pt>
                <c:pt idx="2">
                  <c:v>19002574</c:v>
                </c:pt>
                <c:pt idx="3">
                  <c:v>7573435</c:v>
                </c:pt>
                <c:pt idx="4">
                  <c:v>3202788</c:v>
                </c:pt>
                <c:pt idx="5">
                  <c:v>2234476</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AF6430-5B39-4C4D-8A68-5C6FCDF6F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1FE82EF-EEBD-451F-80A4-8503EE74F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86FFCD-D77E-48DF-871A-B18F0A954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39B8AA-33C9-403B-87FC-B347EE5D2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BED7F4-A259-4C2A-8762-B960D5327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25BA90-54C4-4386-AFC1-0C7BD8F6E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FC3A2D8-76A9-4CD6-9146-9D7250B73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AA8FCE7-3AD4-415A-B3C8-DE2B99EE5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80.85379999999998</c:v>
                </c:pt>
                <c:pt idx="1">
                  <c:v>605.09690000000001</c:v>
                </c:pt>
                <c:pt idx="2">
                  <c:v>520.99090000000001</c:v>
                </c:pt>
                <c:pt idx="3">
                  <c:v>300.56389999999999</c:v>
                </c:pt>
                <c:pt idx="4">
                  <c:v>588.91219999999998</c:v>
                </c:pt>
                <c:pt idx="5">
                  <c:v>553.51400000000001</c:v>
                </c:pt>
                <c:pt idx="6">
                  <c:v>386.5265</c:v>
                </c:pt>
              </c:numCache>
            </c:numRef>
          </c:xVal>
          <c:yVal>
            <c:numRef>
              <c:f>Sheet1!$B$2:$B$8</c:f>
              <c:numCache>
                <c:formatCode>General</c:formatCode>
                <c:ptCount val="7"/>
                <c:pt idx="0">
                  <c:v>0.88600000000000001</c:v>
                </c:pt>
                <c:pt idx="1">
                  <c:v>2.1419999999999999</c:v>
                </c:pt>
                <c:pt idx="2">
                  <c:v>2.415</c:v>
                </c:pt>
                <c:pt idx="3">
                  <c:v>1.099</c:v>
                </c:pt>
                <c:pt idx="4">
                  <c:v>2.056</c:v>
                </c:pt>
                <c:pt idx="5">
                  <c:v>11.252000000000001</c:v>
                </c:pt>
                <c:pt idx="6">
                  <c:v>4.6230000000000002</c:v>
                </c:pt>
              </c:numCache>
            </c:numRef>
          </c:yVal>
          <c:bubbleSize>
            <c:numRef>
              <c:f>Sheet1!$C$2:$C$8</c:f>
              <c:numCache>
                <c:formatCode>General</c:formatCode>
                <c:ptCount val="7"/>
                <c:pt idx="0">
                  <c:v>12857206</c:v>
                </c:pt>
                <c:pt idx="1">
                  <c:v>3786091</c:v>
                </c:pt>
                <c:pt idx="2">
                  <c:v>2173053</c:v>
                </c:pt>
                <c:pt idx="3">
                  <c:v>1656708</c:v>
                </c:pt>
                <c:pt idx="4">
                  <c:v>1072998</c:v>
                </c:pt>
                <c:pt idx="5">
                  <c:v>792632</c:v>
                </c:pt>
                <c:pt idx="6">
                  <c:v>444119</c:v>
                </c:pt>
              </c:numCache>
            </c:numRef>
          </c:bubbleSize>
          <c:bubble3D val="0"/>
          <c:extLst>
            <c:ext xmlns:c15="http://schemas.microsoft.com/office/drawing/2012/chart" uri="{02D57815-91ED-43cb-92C2-25804820EDAC}">
              <c15:datalabelsRange>
                <c15:f>Sheet1!$E$2:$E$10</c15:f>
                <c15:dlblRangeCache>
                  <c:ptCount val="9"/>
                  <c:pt idx="0">
                    <c:v>Neutrogena</c:v>
                  </c:pt>
                  <c:pt idx="1">
                    <c:v>Isdin</c:v>
                  </c:pt>
                  <c:pt idx="2">
                    <c:v>Eucerin</c:v>
                  </c:pt>
                  <c:pt idx="3">
                    <c:v>Eclipsol</c:v>
                  </c:pt>
                  <c:pt idx="4">
                    <c:v>Avene</c:v>
                  </c:pt>
                  <c:pt idx="5">
                    <c:v>La Roche-Posay</c:v>
                  </c:pt>
                  <c:pt idx="6">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
          <c:min val="2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841F6A-FF5F-4CA6-87C8-4909C7783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D4904B-4595-4B07-B652-C69E30C25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2F4338-E68E-42CC-815A-82B98F7029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75E6E8-8FA5-4F4D-9722-8CC2CDE81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64E8046-A18D-4BD9-B983-E5CE5AEE2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7A44D05-1B4A-4150-8BE4-A4D3A79BE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F48D8F4-77E6-409F-8107-E8203EAF7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A1B2A2D-CF34-4BDB-BC12-D3DB43495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41.62649999999999</c:v>
                </c:pt>
                <c:pt idx="1">
                  <c:v>220.4366</c:v>
                </c:pt>
                <c:pt idx="2">
                  <c:v>77.320999999999998</c:v>
                </c:pt>
                <c:pt idx="3">
                  <c:v>333.80770000000001</c:v>
                </c:pt>
              </c:numCache>
            </c:numRef>
          </c:xVal>
          <c:yVal>
            <c:numRef>
              <c:f>Sheet1!$B$2:$B$5</c:f>
              <c:numCache>
                <c:formatCode>General</c:formatCode>
                <c:ptCount val="4"/>
                <c:pt idx="0">
                  <c:v>1.1080000000000001</c:v>
                </c:pt>
                <c:pt idx="1">
                  <c:v>1.0429999999999999</c:v>
                </c:pt>
                <c:pt idx="2">
                  <c:v>0.61</c:v>
                </c:pt>
                <c:pt idx="3">
                  <c:v>1.7150000000000001</c:v>
                </c:pt>
              </c:numCache>
            </c:numRef>
          </c:yVal>
          <c:bubbleSize>
            <c:numRef>
              <c:f>Sheet1!$C$2:$C$5</c:f>
              <c:numCache>
                <c:formatCode>General</c:formatCode>
                <c:ptCount val="4"/>
                <c:pt idx="0">
                  <c:v>14829826</c:v>
                </c:pt>
                <c:pt idx="1">
                  <c:v>10425110</c:v>
                </c:pt>
                <c:pt idx="2">
                  <c:v>2580898</c:v>
                </c:pt>
                <c:pt idx="3">
                  <c:v>609199</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pt idx="3">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1"/>
          <c:min val="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3CF445-1A79-4766-AF54-FAF0CC70B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AA1213-860D-41C4-BC45-FB2A1BC70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BEAC06-6267-4DA1-A932-A20B59790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76FEA5-BF56-45CB-B037-F13123DBD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E88D90-D6EB-4DE9-A50A-267E39F0F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F3A7D92-C580-4714-AB9A-FC0CE564F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456B3C2-A584-4B15-87C1-A33978A5E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4776C35-234E-432A-90D9-EEC00E8A8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1.63650000000001</c:v>
                </c:pt>
                <c:pt idx="1">
                  <c:v>213.0857</c:v>
                </c:pt>
                <c:pt idx="2">
                  <c:v>219.74940000000001</c:v>
                </c:pt>
                <c:pt idx="3">
                  <c:v>89.713499999999996</c:v>
                </c:pt>
                <c:pt idx="4">
                  <c:v>74.441800000000001</c:v>
                </c:pt>
                <c:pt idx="5">
                  <c:v>214.86019999999999</c:v>
                </c:pt>
              </c:numCache>
            </c:numRef>
          </c:xVal>
          <c:yVal>
            <c:numRef>
              <c:f>Sheet1!$B$2:$B$7</c:f>
              <c:numCache>
                <c:formatCode>General</c:formatCode>
                <c:ptCount val="6"/>
                <c:pt idx="0">
                  <c:v>1.24</c:v>
                </c:pt>
                <c:pt idx="1">
                  <c:v>0.90600000000000003</c:v>
                </c:pt>
                <c:pt idx="2">
                  <c:v>0.88100000000000001</c:v>
                </c:pt>
                <c:pt idx="3">
                  <c:v>0.53</c:v>
                </c:pt>
                <c:pt idx="4">
                  <c:v>0.46800000000000003</c:v>
                </c:pt>
                <c:pt idx="5">
                  <c:v>3.1869999999999998</c:v>
                </c:pt>
              </c:numCache>
            </c:numRef>
          </c:yVal>
          <c:bubbleSize>
            <c:numRef>
              <c:f>Sheet1!$C$2:$C$7</c:f>
              <c:numCache>
                <c:formatCode>General</c:formatCode>
                <c:ptCount val="6"/>
                <c:pt idx="0">
                  <c:v>88331422</c:v>
                </c:pt>
                <c:pt idx="1">
                  <c:v>31006308</c:v>
                </c:pt>
                <c:pt idx="2">
                  <c:v>19425192</c:v>
                </c:pt>
                <c:pt idx="3">
                  <c:v>9096325</c:v>
                </c:pt>
                <c:pt idx="4">
                  <c:v>4963182</c:v>
                </c:pt>
                <c:pt idx="5">
                  <c:v>1845649</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096359-8FA5-42FA-8640-FBC12E53B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C1FA48-EBC3-4B13-8D4A-DC92B079E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8F85D7-2DD8-4630-8092-BE48D492E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6B6ACF-18E8-4352-9234-F4E2F285D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BAFB9C-1AA6-49E7-A9B9-92F73D201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A0BBF07-8ECF-45D1-B7F2-1B6C4A6BE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14EC89F-3EC8-4A76-9868-FCFFA275A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098AB26-3BF8-471C-86C1-9CBBE5F27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0.4718</c:v>
                </c:pt>
                <c:pt idx="1">
                  <c:v>218.8167</c:v>
                </c:pt>
                <c:pt idx="2">
                  <c:v>240.5857</c:v>
                </c:pt>
                <c:pt idx="3">
                  <c:v>294.82420000000002</c:v>
                </c:pt>
                <c:pt idx="4">
                  <c:v>600.36440000000005</c:v>
                </c:pt>
                <c:pt idx="5">
                  <c:v>80.753900000000002</c:v>
                </c:pt>
                <c:pt idx="6">
                  <c:v>556.37180000000001</c:v>
                </c:pt>
              </c:numCache>
            </c:numRef>
          </c:xVal>
          <c:yVal>
            <c:numRef>
              <c:f>Sheet1!$B$2:$B$8</c:f>
              <c:numCache>
                <c:formatCode>General</c:formatCode>
                <c:ptCount val="7"/>
                <c:pt idx="0">
                  <c:v>1.101</c:v>
                </c:pt>
                <c:pt idx="1">
                  <c:v>0.80100000000000005</c:v>
                </c:pt>
                <c:pt idx="2">
                  <c:v>0.80400000000000005</c:v>
                </c:pt>
                <c:pt idx="3">
                  <c:v>2.2069999999999999</c:v>
                </c:pt>
                <c:pt idx="4">
                  <c:v>4.5579999999999998</c:v>
                </c:pt>
                <c:pt idx="5">
                  <c:v>0.434</c:v>
                </c:pt>
                <c:pt idx="6">
                  <c:v>8.0820000000000007</c:v>
                </c:pt>
              </c:numCache>
            </c:numRef>
          </c:yVal>
          <c:bubbleSize>
            <c:numRef>
              <c:f>Sheet1!$C$2:$C$8</c:f>
              <c:numCache>
                <c:formatCode>General</c:formatCode>
                <c:ptCount val="7"/>
                <c:pt idx="0">
                  <c:v>70722047</c:v>
                </c:pt>
                <c:pt idx="1">
                  <c:v>34560135</c:v>
                </c:pt>
                <c:pt idx="2">
                  <c:v>31515279</c:v>
                </c:pt>
                <c:pt idx="3">
                  <c:v>9333249</c:v>
                </c:pt>
                <c:pt idx="4">
                  <c:v>5824135</c:v>
                </c:pt>
                <c:pt idx="5">
                  <c:v>5525749</c:v>
                </c:pt>
                <c:pt idx="6">
                  <c:v>3208596</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Neutrogena</c:v>
                  </c:pt>
                  <c:pt idx="4">
                    <c:v>Isdin</c:v>
                  </c:pt>
                  <c:pt idx="5">
                    <c:v>Caribbean Beach</c:v>
                  </c:pt>
                  <c:pt idx="6">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
          <c:min val="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DA6A28-A8F3-4B8A-AC9E-856A78D86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C305C6-1A4F-4C03-AA08-A45311E63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515C98-A51E-49FE-84CC-05D6E27CB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809B5CD-3F27-462F-99DD-4E9C025BC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6EC656-8DC1-40FE-B72B-820B0C590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F01E91-E161-4426-BF8F-A0B4D9A61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5559FE-65F1-465F-A04E-3B6D75932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B00F50D-07B4-4DA5-8C28-529F369AF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90.55079999999998</c:v>
                </c:pt>
                <c:pt idx="1">
                  <c:v>289.0043</c:v>
                </c:pt>
                <c:pt idx="2">
                  <c:v>592.2799</c:v>
                </c:pt>
                <c:pt idx="3">
                  <c:v>586.80870000000004</c:v>
                </c:pt>
                <c:pt idx="4">
                  <c:v>555.48559999999998</c:v>
                </c:pt>
                <c:pt idx="5">
                  <c:v>322.97570000000002</c:v>
                </c:pt>
                <c:pt idx="6">
                  <c:v>599.99940000000004</c:v>
                </c:pt>
              </c:numCache>
            </c:numRef>
          </c:xVal>
          <c:yVal>
            <c:numRef>
              <c:f>Sheet1!$B$2:$B$8</c:f>
              <c:numCache>
                <c:formatCode>General</c:formatCode>
                <c:ptCount val="7"/>
                <c:pt idx="0">
                  <c:v>1.3460000000000001</c:v>
                </c:pt>
                <c:pt idx="1">
                  <c:v>0.67</c:v>
                </c:pt>
                <c:pt idx="2">
                  <c:v>1.7170000000000001</c:v>
                </c:pt>
                <c:pt idx="3">
                  <c:v>2.2839999999999998</c:v>
                </c:pt>
                <c:pt idx="4">
                  <c:v>1.4890000000000001</c:v>
                </c:pt>
                <c:pt idx="5">
                  <c:v>0.81499999999999995</c:v>
                </c:pt>
                <c:pt idx="6">
                  <c:v>2.1669999999999998</c:v>
                </c:pt>
              </c:numCache>
            </c:numRef>
          </c:yVal>
          <c:bubbleSize>
            <c:numRef>
              <c:f>Sheet1!$C$2:$C$8</c:f>
              <c:numCache>
                <c:formatCode>General</c:formatCode>
                <c:ptCount val="7"/>
                <c:pt idx="0">
                  <c:v>17830499</c:v>
                </c:pt>
                <c:pt idx="1">
                  <c:v>15832523</c:v>
                </c:pt>
                <c:pt idx="2">
                  <c:v>6878146</c:v>
                </c:pt>
                <c:pt idx="3">
                  <c:v>6449028</c:v>
                </c:pt>
                <c:pt idx="4">
                  <c:v>3533444</c:v>
                </c:pt>
                <c:pt idx="5">
                  <c:v>2700077</c:v>
                </c:pt>
                <c:pt idx="6">
                  <c:v>1855198</c:v>
                </c:pt>
              </c:numCache>
            </c:numRef>
          </c:bubbleSize>
          <c:bubble3D val="0"/>
          <c:extLst>
            <c:ext xmlns:c15="http://schemas.microsoft.com/office/drawing/2012/chart" uri="{02D57815-91ED-43cb-92C2-25804820EDAC}">
              <c15:datalabelsRange>
                <c15:f>Sheet1!$E$2:$E$10</c15:f>
                <c15:dlblRangeCache>
                  <c:ptCount val="9"/>
                  <c:pt idx="0">
                    <c:v>Isdin</c:v>
                  </c:pt>
                  <c:pt idx="1">
                    <c:v>Neutrogena</c:v>
                  </c:pt>
                  <c:pt idx="2">
                    <c:v>Eucerin</c:v>
                  </c:pt>
                  <c:pt idx="3">
                    <c:v>La Roche-Posay</c:v>
                  </c:pt>
                  <c:pt idx="4">
                    <c:v>Avene</c:v>
                  </c:pt>
                  <c:pt idx="5">
                    <c:v>Eclipsol</c:v>
                  </c:pt>
                  <c:pt idx="6">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
          <c:min val="2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78CD1F-9C7E-4F97-B896-5C64F4F39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853B1C-6134-4F2B-98DC-66AB38D80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1EE185-C2E5-48BD-8823-65637DF9F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97A60A0-2582-41E2-8D45-FEA7920B8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3E5AAD5-6C69-4D3D-9CDF-97932ECD5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141667C-8F5E-4C38-831B-93C60A084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0F114A8-9602-4429-B822-381603260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8B1C079-8598-4FE2-9FDC-54386BEFA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7.36590000000001</c:v>
                </c:pt>
                <c:pt idx="1">
                  <c:v>202.6541</c:v>
                </c:pt>
                <c:pt idx="2">
                  <c:v>74.376300000000001</c:v>
                </c:pt>
              </c:numCache>
            </c:numRef>
          </c:xVal>
          <c:yVal>
            <c:numRef>
              <c:f>Sheet1!$B$2:$B$4</c:f>
              <c:numCache>
                <c:formatCode>General</c:formatCode>
                <c:ptCount val="3"/>
                <c:pt idx="0">
                  <c:v>1.1439999999999999</c:v>
                </c:pt>
                <c:pt idx="1">
                  <c:v>1.1120000000000001</c:v>
                </c:pt>
                <c:pt idx="2">
                  <c:v>0.63</c:v>
                </c:pt>
              </c:numCache>
            </c:numRef>
          </c:yVal>
          <c:bubbleSize>
            <c:numRef>
              <c:f>Sheet1!$C$2:$C$4</c:f>
              <c:numCache>
                <c:formatCode>General</c:formatCode>
                <c:ptCount val="3"/>
                <c:pt idx="0">
                  <c:v>11537145</c:v>
                </c:pt>
                <c:pt idx="1">
                  <c:v>7694775</c:v>
                </c:pt>
                <c:pt idx="2">
                  <c:v>3365824</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7"/>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52C87B-0751-49DF-A571-BA6A39A51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CFA899-ACA0-4950-A87B-2EE375643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D6FB1C-86EA-4B4B-83C7-D2C91A29F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FC709F1-4743-4B67-9272-1626ADA9D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D58168-41EB-4E44-9BF8-1A255B397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93BB2D-006E-4DAA-98E0-B18B92220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86FCA5C-0B87-4030-96CC-9D20FC40E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C7E2B95-2C60-40F6-9EFA-2DCDBD7D2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6.5461</c:v>
                </c:pt>
                <c:pt idx="1">
                  <c:v>218.12209999999999</c:v>
                </c:pt>
                <c:pt idx="2">
                  <c:v>231.68799999999999</c:v>
                </c:pt>
                <c:pt idx="3">
                  <c:v>89.617099999999994</c:v>
                </c:pt>
                <c:pt idx="4">
                  <c:v>74.820400000000006</c:v>
                </c:pt>
                <c:pt idx="5">
                  <c:v>221.1781</c:v>
                </c:pt>
              </c:numCache>
            </c:numRef>
          </c:xVal>
          <c:yVal>
            <c:numRef>
              <c:f>Sheet1!$B$2:$B$7</c:f>
              <c:numCache>
                <c:formatCode>General</c:formatCode>
                <c:ptCount val="6"/>
                <c:pt idx="0">
                  <c:v>1.264</c:v>
                </c:pt>
                <c:pt idx="1">
                  <c:v>0.94099999999999995</c:v>
                </c:pt>
                <c:pt idx="2">
                  <c:v>0.93100000000000005</c:v>
                </c:pt>
                <c:pt idx="3">
                  <c:v>0.49399999999999999</c:v>
                </c:pt>
                <c:pt idx="4">
                  <c:v>0.46600000000000003</c:v>
                </c:pt>
                <c:pt idx="5">
                  <c:v>3.2280000000000002</c:v>
                </c:pt>
              </c:numCache>
            </c:numRef>
          </c:yVal>
          <c:bubbleSize>
            <c:numRef>
              <c:f>Sheet1!$C$2:$C$7</c:f>
              <c:numCache>
                <c:formatCode>General</c:formatCode>
                <c:ptCount val="6"/>
                <c:pt idx="0">
                  <c:v>71214845</c:v>
                </c:pt>
                <c:pt idx="1">
                  <c:v>34650228</c:v>
                </c:pt>
                <c:pt idx="2">
                  <c:v>23619901</c:v>
                </c:pt>
                <c:pt idx="3">
                  <c:v>8454656</c:v>
                </c:pt>
                <c:pt idx="4">
                  <c:v>4294539</c:v>
                </c:pt>
                <c:pt idx="5">
                  <c:v>195145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6"/>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FD0D35-1C10-42E4-AF40-C0EF52A33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9E6609-E3C9-440C-BF89-1205A2CEA4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C6E1DE-68D9-452E-96B6-7032096A0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0D30DB-6F7D-4B6C-9913-605A235B9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B728F5-3556-4F5B-AAB1-7A6D813F8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A25024-AA6B-41B0-B38B-2B90FAC0A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69974E1-33CA-40CB-ADCD-E370056C7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C8F05DC-AE0A-4D9D-9FD5-3A93E7B02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87.34699999999998</c:v>
                </c:pt>
                <c:pt idx="1">
                  <c:v>296.70359999999999</c:v>
                </c:pt>
                <c:pt idx="2">
                  <c:v>577.61429999999996</c:v>
                </c:pt>
                <c:pt idx="3">
                  <c:v>583.74170000000004</c:v>
                </c:pt>
                <c:pt idx="4">
                  <c:v>541.65340000000003</c:v>
                </c:pt>
                <c:pt idx="5">
                  <c:v>569.41949999999997</c:v>
                </c:pt>
                <c:pt idx="6">
                  <c:v>328.01260000000002</c:v>
                </c:pt>
              </c:numCache>
            </c:numRef>
          </c:xVal>
          <c:yVal>
            <c:numRef>
              <c:f>Sheet1!$B$2:$B$8</c:f>
              <c:numCache>
                <c:formatCode>General</c:formatCode>
                <c:ptCount val="7"/>
                <c:pt idx="0">
                  <c:v>1.319</c:v>
                </c:pt>
                <c:pt idx="1">
                  <c:v>0.72099999999999997</c:v>
                </c:pt>
                <c:pt idx="2">
                  <c:v>2.1230000000000002</c:v>
                </c:pt>
                <c:pt idx="3">
                  <c:v>1.653</c:v>
                </c:pt>
                <c:pt idx="4">
                  <c:v>1.4970000000000001</c:v>
                </c:pt>
                <c:pt idx="5">
                  <c:v>1.956</c:v>
                </c:pt>
                <c:pt idx="6">
                  <c:v>0.87</c:v>
                </c:pt>
              </c:numCache>
            </c:numRef>
          </c:yVal>
          <c:bubbleSize>
            <c:numRef>
              <c:f>Sheet1!$C$2:$C$8</c:f>
              <c:numCache>
                <c:formatCode>General</c:formatCode>
                <c:ptCount val="7"/>
                <c:pt idx="0">
                  <c:v>16648350</c:v>
                </c:pt>
                <c:pt idx="1">
                  <c:v>15085897</c:v>
                </c:pt>
                <c:pt idx="2">
                  <c:v>6503359</c:v>
                </c:pt>
                <c:pt idx="3">
                  <c:v>5453315</c:v>
                </c:pt>
                <c:pt idx="4">
                  <c:v>3844114</c:v>
                </c:pt>
                <c:pt idx="5">
                  <c:v>2465017</c:v>
                </c:pt>
                <c:pt idx="6">
                  <c:v>1769628</c:v>
                </c:pt>
              </c:numCache>
            </c:numRef>
          </c:bubbleSize>
          <c:bubble3D val="0"/>
          <c:extLst>
            <c:ext xmlns:c15="http://schemas.microsoft.com/office/drawing/2012/chart" uri="{02D57815-91ED-43cb-92C2-25804820EDAC}">
              <c15:datalabelsRange>
                <c15:f>Sheet1!$E$2:$E$10</c15:f>
                <c15:dlblRangeCache>
                  <c:ptCount val="9"/>
                  <c:pt idx="0">
                    <c:v>Isdin</c:v>
                  </c:pt>
                  <c:pt idx="1">
                    <c:v>Neutrogena</c:v>
                  </c:pt>
                  <c:pt idx="2">
                    <c:v>La Roche-Posay</c:v>
                  </c:pt>
                  <c:pt idx="3">
                    <c:v>Eucerin</c:v>
                  </c:pt>
                  <c:pt idx="4">
                    <c:v>Avene</c:v>
                  </c:pt>
                  <c:pt idx="5">
                    <c:v>Photoderm</c:v>
                  </c:pt>
                  <c:pt idx="6">
                    <c:v>Eclipso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
          <c:min val="23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0F8992-E0B7-40BD-BC89-DB8067B95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ADA223-4D63-4B4B-A423-3EF1D61E8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6293F4-086B-46A0-9C35-451CA6D2D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CEE7281-07B7-4571-9A4B-F6185FF2B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A39688C-3AE7-41B4-855A-874F25D2E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5F18986-52E0-45C8-B605-83E2364BA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B7266B5-9919-4F45-8420-A87361FEB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71D81D4-EFBC-462D-B933-05190CB82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2.45370000000003</c:v>
                </c:pt>
                <c:pt idx="1">
                  <c:v>211.64160000000001</c:v>
                </c:pt>
                <c:pt idx="2">
                  <c:v>76.601600000000005</c:v>
                </c:pt>
              </c:numCache>
            </c:numRef>
          </c:xVal>
          <c:yVal>
            <c:numRef>
              <c:f>Sheet1!$B$2:$B$4</c:f>
              <c:numCache>
                <c:formatCode>General</c:formatCode>
                <c:ptCount val="3"/>
                <c:pt idx="0">
                  <c:v>1.1479999999999999</c:v>
                </c:pt>
                <c:pt idx="1">
                  <c:v>1.0649999999999999</c:v>
                </c:pt>
                <c:pt idx="2">
                  <c:v>0.57299999999999995</c:v>
                </c:pt>
              </c:numCache>
            </c:numRef>
          </c:yVal>
          <c:bubbleSize>
            <c:numRef>
              <c:f>Sheet1!$C$2:$C$4</c:f>
              <c:numCache>
                <c:formatCode>General</c:formatCode>
                <c:ptCount val="3"/>
                <c:pt idx="0">
                  <c:v>15635682</c:v>
                </c:pt>
                <c:pt idx="1">
                  <c:v>8965349</c:v>
                </c:pt>
                <c:pt idx="2">
                  <c:v>2911242</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66601B-707E-40FE-B5A0-70B46E55F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9568A9-141A-46A9-AA1F-494AACF9C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DA89C36-0CA0-4869-9B10-23FB4D386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F0CE05-1D50-4387-9F8D-D08B29E2B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2438DE-9044-4A7D-A716-D2E269486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AFDEB2-1C20-471A-B0E3-91F7D04717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1090014-36F5-412E-A0D5-92D811FA8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F458E60-F43F-4E82-83D7-8CD643E69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51070000000001</c:v>
                </c:pt>
                <c:pt idx="1">
                  <c:v>221.86279999999999</c:v>
                </c:pt>
                <c:pt idx="2">
                  <c:v>232.25049999999999</c:v>
                </c:pt>
                <c:pt idx="3">
                  <c:v>85.391199999999998</c:v>
                </c:pt>
                <c:pt idx="4">
                  <c:v>73.085599999999999</c:v>
                </c:pt>
                <c:pt idx="5">
                  <c:v>222.31460000000001</c:v>
                </c:pt>
              </c:numCache>
            </c:numRef>
          </c:xVal>
          <c:yVal>
            <c:numRef>
              <c:f>Sheet1!$B$2:$B$7</c:f>
              <c:numCache>
                <c:formatCode>General</c:formatCode>
                <c:ptCount val="6"/>
                <c:pt idx="0">
                  <c:v>1.19</c:v>
                </c:pt>
                <c:pt idx="1">
                  <c:v>0.88300000000000001</c:v>
                </c:pt>
                <c:pt idx="2">
                  <c:v>0.89900000000000002</c:v>
                </c:pt>
                <c:pt idx="3">
                  <c:v>0.47199999999999998</c:v>
                </c:pt>
                <c:pt idx="4">
                  <c:v>0.42599999999999999</c:v>
                </c:pt>
                <c:pt idx="5">
                  <c:v>3.0070000000000001</c:v>
                </c:pt>
              </c:numCache>
            </c:numRef>
          </c:yVal>
          <c:bubbleSize>
            <c:numRef>
              <c:f>Sheet1!$C$2:$C$7</c:f>
              <c:numCache>
                <c:formatCode>General</c:formatCode>
                <c:ptCount val="6"/>
                <c:pt idx="0">
                  <c:v>68815552</c:v>
                </c:pt>
                <c:pt idx="1">
                  <c:v>25554382</c:v>
                </c:pt>
                <c:pt idx="2">
                  <c:v>16630064</c:v>
                </c:pt>
                <c:pt idx="3">
                  <c:v>4259142</c:v>
                </c:pt>
                <c:pt idx="4">
                  <c:v>1528440</c:v>
                </c:pt>
                <c:pt idx="5">
                  <c:v>149262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Caribbean Beach</c:v>
                  </c:pt>
                  <c:pt idx="4">
                    <c:v>Nuvel</c:v>
                  </c:pt>
                  <c:pt idx="5">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
          <c:min val="5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178915-FAE6-43A6-A674-237C1EE98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5C9B94-D784-437A-8058-2324A55D0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7E9B8A-4431-4263-915E-9261F6909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F60435-5ECA-45B2-9D19-6B8C63DB9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2F3CA3-CD4A-4054-9580-730295159A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50D8D5A-F73F-488D-8D98-E3889DCBE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010250-017C-4D4B-AF90-FD0615EEB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B77323B-A97A-4726-92EF-0BE2DAD78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94.39339999999999</c:v>
                </c:pt>
                <c:pt idx="1">
                  <c:v>600.36440000000005</c:v>
                </c:pt>
                <c:pt idx="2">
                  <c:v>559.72159999999997</c:v>
                </c:pt>
                <c:pt idx="3">
                  <c:v>601.63699999999994</c:v>
                </c:pt>
                <c:pt idx="4">
                  <c:v>322.10379999999998</c:v>
                </c:pt>
                <c:pt idx="5">
                  <c:v>564.92899999999997</c:v>
                </c:pt>
                <c:pt idx="6">
                  <c:v>725.88959999999997</c:v>
                </c:pt>
              </c:numCache>
            </c:numRef>
          </c:xVal>
          <c:yVal>
            <c:numRef>
              <c:f>Sheet1!$B$2:$B$8</c:f>
              <c:numCache>
                <c:formatCode>General</c:formatCode>
                <c:ptCount val="7"/>
                <c:pt idx="0">
                  <c:v>0.81200000000000006</c:v>
                </c:pt>
                <c:pt idx="1">
                  <c:v>1.7070000000000001</c:v>
                </c:pt>
                <c:pt idx="2">
                  <c:v>2.9929999999999999</c:v>
                </c:pt>
                <c:pt idx="3">
                  <c:v>2.2290000000000001</c:v>
                </c:pt>
                <c:pt idx="4">
                  <c:v>1.038</c:v>
                </c:pt>
                <c:pt idx="5">
                  <c:v>2.0030000000000001</c:v>
                </c:pt>
                <c:pt idx="6">
                  <c:v>1.708</c:v>
                </c:pt>
              </c:numCache>
            </c:numRef>
          </c:yVal>
          <c:bubbleSize>
            <c:numRef>
              <c:f>Sheet1!$C$2:$C$8</c:f>
              <c:numCache>
                <c:formatCode>General</c:formatCode>
                <c:ptCount val="7"/>
                <c:pt idx="0">
                  <c:v>9055836</c:v>
                </c:pt>
                <c:pt idx="1">
                  <c:v>5824135</c:v>
                </c:pt>
                <c:pt idx="2">
                  <c:v>3172502</c:v>
                </c:pt>
                <c:pt idx="3">
                  <c:v>2633967</c:v>
                </c:pt>
                <c:pt idx="4">
                  <c:v>1150877</c:v>
                </c:pt>
                <c:pt idx="5">
                  <c:v>1106131</c:v>
                </c:pt>
                <c:pt idx="6">
                  <c:v>762910</c:v>
                </c:pt>
              </c:numCache>
            </c:numRef>
          </c:bubbleSize>
          <c:bubble3D val="0"/>
          <c:extLst>
            <c:ext xmlns:c15="http://schemas.microsoft.com/office/drawing/2012/chart" uri="{02D57815-91ED-43cb-92C2-25804820EDAC}">
              <c15:datalabelsRange>
                <c15:f>Sheet1!$E$2:$E$10</c15:f>
                <c15:dlblRangeCache>
                  <c:ptCount val="9"/>
                  <c:pt idx="0">
                    <c:v>Neutrogena</c:v>
                  </c:pt>
                  <c:pt idx="1">
                    <c:v>Isdin</c:v>
                  </c:pt>
                  <c:pt idx="2">
                    <c:v>La Roche-Posay</c:v>
                  </c:pt>
                  <c:pt idx="3">
                    <c:v>Eucerin</c:v>
                  </c:pt>
                  <c:pt idx="4">
                    <c:v>Eclipsol</c:v>
                  </c:pt>
                  <c:pt idx="5">
                    <c:v>Avene</c:v>
                  </c:pt>
                  <c:pt idx="6">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1"/>
          <c:min val="23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A3FEB4-01CC-4E34-B10F-44513FCAC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4080E2-A858-4FF2-AFCF-868EBC305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0D4B27-E75C-44F9-812C-8D3CB7B0D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3D464E6-CAFB-42EE-9666-C88F0CB7E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B724FF8-A5E4-4AEC-8214-824C44F876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E9D968B-7BFC-474E-9774-05BD8D8A5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D6523F9-B5F4-4971-BA5A-3631520BF3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1F01B9D-FB9B-4BF1-B93F-9A545DDA6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7.48809999999997</c:v>
                </c:pt>
                <c:pt idx="1">
                  <c:v>208.13399999999999</c:v>
                </c:pt>
                <c:pt idx="2">
                  <c:v>68.659700000000001</c:v>
                </c:pt>
              </c:numCache>
            </c:numRef>
          </c:xVal>
          <c:yVal>
            <c:numRef>
              <c:f>Sheet1!$B$2:$B$4</c:f>
              <c:numCache>
                <c:formatCode>General</c:formatCode>
                <c:ptCount val="3"/>
                <c:pt idx="0">
                  <c:v>1.113</c:v>
                </c:pt>
                <c:pt idx="1">
                  <c:v>1.02</c:v>
                </c:pt>
                <c:pt idx="2">
                  <c:v>0.52200000000000002</c:v>
                </c:pt>
              </c:numCache>
            </c:numRef>
          </c:yVal>
          <c:bubbleSize>
            <c:numRef>
              <c:f>Sheet1!$C$2:$C$4</c:f>
              <c:numCache>
                <c:formatCode>General</c:formatCode>
                <c:ptCount val="3"/>
                <c:pt idx="0">
                  <c:v>13521524</c:v>
                </c:pt>
                <c:pt idx="1">
                  <c:v>6122471</c:v>
                </c:pt>
                <c:pt idx="2">
                  <c:v>1247958</c:v>
                </c:pt>
              </c:numCache>
            </c:numRef>
          </c:bubbleSize>
          <c:bubble3D val="0"/>
          <c:extLst>
            <c:ext xmlns:c15="http://schemas.microsoft.com/office/drawing/2012/chart" uri="{02D57815-91ED-43cb-92C2-25804820EDAC}">
              <c15:datalabelsRange>
                <c15:f>Sheet1!$E$2:$E$10</c15:f>
                <c15:dlblRangeCache>
                  <c:ptCount val="9"/>
                  <c:pt idx="0">
                    <c:v>Banana Boat</c:v>
                  </c:pt>
                  <c:pt idx="1">
                    <c:v>Hawaiian Tropic</c:v>
                  </c:pt>
                  <c:pt idx="2">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1"/>
          <c:min val="5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DCEEAF-FA76-493A-AE18-E44E03783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CAEF0B-22A6-494C-BFC7-45BAE205B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AC0EE1-435B-4B19-B1F5-E211905BF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4611DD-53E8-4553-A646-AF64302C9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5418FA-EEA1-490F-94CC-889EFFA0C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1C58EB2-F5ED-4A99-981C-5A5CB432A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5646DD-88AB-4BD8-8B90-B4B429898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7C7CBA8-2896-4449-8138-B41170CD8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38.31790000000001</c:v>
                </c:pt>
                <c:pt idx="1">
                  <c:v>290.39980000000003</c:v>
                </c:pt>
                <c:pt idx="2">
                  <c:v>239.05459999999999</c:v>
                </c:pt>
                <c:pt idx="3">
                  <c:v>239.31800000000001</c:v>
                </c:pt>
                <c:pt idx="4">
                  <c:v>84.7851</c:v>
                </c:pt>
                <c:pt idx="5">
                  <c:v>583.22159999999997</c:v>
                </c:pt>
                <c:pt idx="6">
                  <c:v>74.360500000000002</c:v>
                </c:pt>
              </c:numCache>
            </c:numRef>
          </c:xVal>
          <c:yVal>
            <c:numRef>
              <c:f>Sheet1!$B$2:$B$8</c:f>
              <c:numCache>
                <c:formatCode>General</c:formatCode>
                <c:ptCount val="7"/>
                <c:pt idx="0">
                  <c:v>1.3540000000000001</c:v>
                </c:pt>
                <c:pt idx="1">
                  <c:v>1.986</c:v>
                </c:pt>
                <c:pt idx="2">
                  <c:v>0.72199999999999998</c:v>
                </c:pt>
                <c:pt idx="3">
                  <c:v>0.65900000000000003</c:v>
                </c:pt>
                <c:pt idx="4">
                  <c:v>0.41299999999999998</c:v>
                </c:pt>
                <c:pt idx="5">
                  <c:v>7.76</c:v>
                </c:pt>
                <c:pt idx="6">
                  <c:v>0.38700000000000001</c:v>
                </c:pt>
              </c:numCache>
            </c:numRef>
          </c:yVal>
          <c:bubbleSize>
            <c:numRef>
              <c:f>Sheet1!$C$2:$C$8</c:f>
              <c:numCache>
                <c:formatCode>General</c:formatCode>
                <c:ptCount val="7"/>
                <c:pt idx="0">
                  <c:v>220806067</c:v>
                </c:pt>
                <c:pt idx="1">
                  <c:v>99185766</c:v>
                </c:pt>
                <c:pt idx="2">
                  <c:v>75019886</c:v>
                </c:pt>
                <c:pt idx="3">
                  <c:v>66004370</c:v>
                </c:pt>
                <c:pt idx="4">
                  <c:v>61986804</c:v>
                </c:pt>
                <c:pt idx="5">
                  <c:v>54751094</c:v>
                </c:pt>
                <c:pt idx="6">
                  <c:v>23746346</c:v>
                </c:pt>
              </c:numCache>
            </c:numRef>
          </c:bubbleSize>
          <c:bubble3D val="0"/>
          <c:extLst>
            <c:ext xmlns:c15="http://schemas.microsoft.com/office/drawing/2012/chart" uri="{02D57815-91ED-43cb-92C2-25804820EDAC}">
              <c15:datalabelsRange>
                <c15:f>Sheet1!$E$2:$E$10</c15:f>
                <c15:dlblRangeCache>
                  <c:ptCount val="9"/>
                  <c:pt idx="0">
                    <c:v>Nivea</c:v>
                  </c:pt>
                  <c:pt idx="1">
                    <c:v>Neutrogena</c:v>
                  </c:pt>
                  <c:pt idx="2">
                    <c:v>Hawaiian Tropic</c:v>
                  </c:pt>
                  <c:pt idx="3">
                    <c:v>Banana Boat</c:v>
                  </c:pt>
                  <c:pt idx="4">
                    <c:v>Caribbean Beach</c:v>
                  </c:pt>
                  <c:pt idx="5">
                    <c:v>Isdin</c:v>
                  </c:pt>
                  <c:pt idx="6">
                    <c:v>Nuv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0"/>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A918A7-56FA-42F0-9286-9801359C9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6B3920-E532-4088-B613-06F89C6AD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322B24-6BC3-4C45-B0F0-7384EF0E3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59EFB6-1207-4257-8CC5-A8C930DFB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6DB8E14-D318-40A0-84BA-81BD22DC3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66AEBAF-5E76-46C4-B4F8-A63059770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1FA3226-6E94-4870-82C4-73053D39B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4874D96-05D7-4D56-8357-3B183396D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6.2193</c:v>
                </c:pt>
                <c:pt idx="1">
                  <c:v>184.5881</c:v>
                </c:pt>
                <c:pt idx="2">
                  <c:v>153.47550000000001</c:v>
                </c:pt>
                <c:pt idx="3">
                  <c:v>206.30250000000001</c:v>
                </c:pt>
              </c:numCache>
            </c:numRef>
          </c:xVal>
          <c:yVal>
            <c:numRef>
              <c:f>Sheet1!$B$2:$B$5</c:f>
              <c:numCache>
                <c:formatCode>General</c:formatCode>
                <c:ptCount val="4"/>
                <c:pt idx="0">
                  <c:v>0.97299999999999998</c:v>
                </c:pt>
                <c:pt idx="1">
                  <c:v>0.878</c:v>
                </c:pt>
                <c:pt idx="2">
                  <c:v>0.81499999999999995</c:v>
                </c:pt>
                <c:pt idx="3">
                  <c:v>2.9670000000000001</c:v>
                </c:pt>
              </c:numCache>
            </c:numRef>
          </c:yVal>
          <c:bubbleSize>
            <c:numRef>
              <c:f>Sheet1!$C$2:$C$5</c:f>
              <c:numCache>
                <c:formatCode>General</c:formatCode>
                <c:ptCount val="4"/>
                <c:pt idx="0">
                  <c:v>158375035</c:v>
                </c:pt>
                <c:pt idx="1">
                  <c:v>134294871</c:v>
                </c:pt>
                <c:pt idx="2">
                  <c:v>28962983</c:v>
                </c:pt>
                <c:pt idx="3">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1"/>
          <c:min val="12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FB92F4-306F-408F-BCB1-1506EB11C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62BD8F-9923-48C4-AA34-753DE7953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A76755-FFBE-406F-84E8-8E4A09B13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0BA00B-079B-4F3E-8CEF-20F85EC68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144BC45-6F23-4038-ABCE-800CF9FA4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4219C3-2C03-44A5-A0FF-B438CAAEC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F9CFB0-B663-45AA-9B70-F7D6E016A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2CFE463-08A4-4E41-AD0B-97C76A913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3.31460000000001</c:v>
                </c:pt>
                <c:pt idx="1">
                  <c:v>209.0821</c:v>
                </c:pt>
                <c:pt idx="2">
                  <c:v>228.26419999999999</c:v>
                </c:pt>
                <c:pt idx="3">
                  <c:v>577.1653</c:v>
                </c:pt>
                <c:pt idx="4">
                  <c:v>291.35789999999997</c:v>
                </c:pt>
                <c:pt idx="5">
                  <c:v>84.787800000000004</c:v>
                </c:pt>
                <c:pt idx="6">
                  <c:v>563.72080000000005</c:v>
                </c:pt>
              </c:numCache>
            </c:numRef>
          </c:xVal>
          <c:yVal>
            <c:numRef>
              <c:f>Sheet1!$B$2:$B$8</c:f>
              <c:numCache>
                <c:formatCode>General</c:formatCode>
                <c:ptCount val="7"/>
                <c:pt idx="0">
                  <c:v>1.03</c:v>
                </c:pt>
                <c:pt idx="1">
                  <c:v>0.748</c:v>
                </c:pt>
                <c:pt idx="2">
                  <c:v>0.751</c:v>
                </c:pt>
                <c:pt idx="3">
                  <c:v>4.0640000000000001</c:v>
                </c:pt>
                <c:pt idx="4">
                  <c:v>1.9950000000000001</c:v>
                </c:pt>
                <c:pt idx="5">
                  <c:v>0.40899999999999997</c:v>
                </c:pt>
                <c:pt idx="6">
                  <c:v>6.1130000000000004</c:v>
                </c:pt>
              </c:numCache>
            </c:numRef>
          </c:yVal>
          <c:bubbleSize>
            <c:numRef>
              <c:f>Sheet1!$C$2:$C$8</c:f>
              <c:numCache>
                <c:formatCode>General</c:formatCode>
                <c:ptCount val="7"/>
                <c:pt idx="0">
                  <c:v>523432960</c:v>
                </c:pt>
                <c:pt idx="1">
                  <c:v>246489415</c:v>
                </c:pt>
                <c:pt idx="2">
                  <c:v>205279552</c:v>
                </c:pt>
                <c:pt idx="3">
                  <c:v>108131910</c:v>
                </c:pt>
                <c:pt idx="4">
                  <c:v>101346207</c:v>
                </c:pt>
                <c:pt idx="5">
                  <c:v>61992752</c:v>
                </c:pt>
                <c:pt idx="6">
                  <c:v>44526055</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C7FC7E-189E-49DA-A786-E7F240941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AD56C1A-05B3-416C-A9AA-DFA87649F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CD400E-36D6-4AF1-B118-29695EB15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6DA335-037A-438C-8969-37EE1BCFA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7C8F10-8971-42C7-9314-1B63723E0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14A852-6A28-4C5C-A816-C79A36A08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9BF6835-6E2E-4C88-98F6-8B8E627FB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C0382A-0714-4659-8EEF-7D7D640A2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05040000000002</c:v>
                </c:pt>
                <c:pt idx="1">
                  <c:v>589.79920000000004</c:v>
                </c:pt>
                <c:pt idx="2">
                  <c:v>552.87980000000005</c:v>
                </c:pt>
                <c:pt idx="3">
                  <c:v>161.5934</c:v>
                </c:pt>
                <c:pt idx="4">
                  <c:v>133.5788</c:v>
                </c:pt>
                <c:pt idx="5">
                  <c:v>539.27739999999994</c:v>
                </c:pt>
                <c:pt idx="6">
                  <c:v>567.20190000000002</c:v>
                </c:pt>
              </c:numCache>
            </c:numRef>
          </c:xVal>
          <c:yVal>
            <c:numRef>
              <c:f>Sheet1!$B$2:$B$8</c:f>
              <c:numCache>
                <c:formatCode>General</c:formatCode>
                <c:ptCount val="7"/>
                <c:pt idx="0">
                  <c:v>1.0209999999999999</c:v>
                </c:pt>
                <c:pt idx="1">
                  <c:v>1.8049999999999999</c:v>
                </c:pt>
                <c:pt idx="2">
                  <c:v>8.3439999999999994</c:v>
                </c:pt>
                <c:pt idx="3">
                  <c:v>0.496</c:v>
                </c:pt>
                <c:pt idx="4">
                  <c:v>0.32300000000000001</c:v>
                </c:pt>
                <c:pt idx="5">
                  <c:v>8.5549999999999997</c:v>
                </c:pt>
                <c:pt idx="6">
                  <c:v>52.46</c:v>
                </c:pt>
              </c:numCache>
            </c:numRef>
          </c:yVal>
          <c:bubbleSize>
            <c:numRef>
              <c:f>Sheet1!$C$2:$C$8</c:f>
              <c:numCache>
                <c:formatCode>General</c:formatCode>
                <c:ptCount val="7"/>
                <c:pt idx="0">
                  <c:v>91166125</c:v>
                </c:pt>
                <c:pt idx="1">
                  <c:v>16169345</c:v>
                </c:pt>
                <c:pt idx="2">
                  <c:v>11875859</c:v>
                </c:pt>
                <c:pt idx="3">
                  <c:v>9268512</c:v>
                </c:pt>
                <c:pt idx="4">
                  <c:v>7397860</c:v>
                </c:pt>
                <c:pt idx="5">
                  <c:v>5504944</c:v>
                </c:pt>
                <c:pt idx="6">
                  <c:v>157341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Hawaiian Tropic</c:v>
                  </c:pt>
                  <c:pt idx="4">
                    <c:v>Banana Boat</c:v>
                  </c:pt>
                  <c:pt idx="5">
                    <c:v>La Roche-Posay</c:v>
                  </c:pt>
                  <c:pt idx="6">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8"/>
          <c:min val="10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9C7D0B-8443-4C85-A340-28743FFFF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6C7B9E-4BA9-4086-8E5B-9CA9F4EEA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FE4EE3-1A94-4EE6-A617-3CAE23613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6B008D-0F94-454B-ACB6-AF84EF947A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262460-83CC-474D-9872-A9737C768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34BD39-546E-47EC-A4D8-8D3782598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CA0D71-7B13-4BB8-ABC5-A6CFEC4E4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F10CEF1-4393-4C9D-B2B0-E870DF18F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51.95619999999997</c:v>
                </c:pt>
                <c:pt idx="1">
                  <c:v>580.10599999999999</c:v>
                </c:pt>
                <c:pt idx="2">
                  <c:v>243.3535</c:v>
                </c:pt>
                <c:pt idx="3">
                  <c:v>533.79150000000004</c:v>
                </c:pt>
                <c:pt idx="4">
                  <c:v>524.24919999999997</c:v>
                </c:pt>
                <c:pt idx="5">
                  <c:v>369.12920000000003</c:v>
                </c:pt>
                <c:pt idx="6">
                  <c:v>269.45240000000001</c:v>
                </c:pt>
              </c:numCache>
            </c:numRef>
          </c:xVal>
          <c:yVal>
            <c:numRef>
              <c:f>Sheet1!$B$2:$B$8</c:f>
              <c:numCache>
                <c:formatCode>General</c:formatCode>
                <c:ptCount val="7"/>
                <c:pt idx="0">
                  <c:v>1.123</c:v>
                </c:pt>
                <c:pt idx="1">
                  <c:v>1.3009999999999999</c:v>
                </c:pt>
                <c:pt idx="2">
                  <c:v>0.56799999999999995</c:v>
                </c:pt>
                <c:pt idx="3">
                  <c:v>1.8520000000000001</c:v>
                </c:pt>
                <c:pt idx="4">
                  <c:v>1.0369999999999999</c:v>
                </c:pt>
                <c:pt idx="5">
                  <c:v>1.389</c:v>
                </c:pt>
                <c:pt idx="6">
                  <c:v>0.51600000000000001</c:v>
                </c:pt>
              </c:numCache>
            </c:numRef>
          </c:yVal>
          <c:bubbleSize>
            <c:numRef>
              <c:f>Sheet1!$C$2:$C$8</c:f>
              <c:numCache>
                <c:formatCode>General</c:formatCode>
                <c:ptCount val="7"/>
                <c:pt idx="0">
                  <c:v>17135479</c:v>
                </c:pt>
                <c:pt idx="1">
                  <c:v>14920906</c:v>
                </c:pt>
                <c:pt idx="2">
                  <c:v>11123445</c:v>
                </c:pt>
                <c:pt idx="3">
                  <c:v>4767826</c:v>
                </c:pt>
                <c:pt idx="4">
                  <c:v>4638557</c:v>
                </c:pt>
                <c:pt idx="5">
                  <c:v>2334373</c:v>
                </c:pt>
                <c:pt idx="6">
                  <c:v>676056</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Nivea</c:v>
                  </c:pt>
                  <c:pt idx="3">
                    <c:v>Avene</c:v>
                  </c:pt>
                  <c:pt idx="4">
                    <c:v>Eucerin</c:v>
                  </c:pt>
                  <c:pt idx="5">
                    <c:v>Photoderm</c:v>
                  </c:pt>
                  <c:pt idx="6">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6"/>
          <c:min val="19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7DD101-8A63-4A16-AD2B-7C0784C82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95D719-4177-424F-8682-F72D30131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5720CD-4CC0-4E4E-805F-801C4C1E0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14B0D1-8163-44F0-A31B-A1EEA6F49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1D9C655-A70D-42D8-983F-DF6D3C2CB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4448451-212E-41A3-B712-6FBF383BD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4EF2370-E6F7-4951-9DA5-9EF13B09F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6B0A35F-0D9F-4C67-9D1C-D5D80D965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82.49119999999999</c:v>
                </c:pt>
                <c:pt idx="1">
                  <c:v>268.608</c:v>
                </c:pt>
                <c:pt idx="2">
                  <c:v>267.48770000000002</c:v>
                </c:pt>
                <c:pt idx="3">
                  <c:v>574.69849999999997</c:v>
                </c:pt>
              </c:numCache>
            </c:numRef>
          </c:xVal>
          <c:yVal>
            <c:numRef>
              <c:f>Sheet1!$B$2:$B$5</c:f>
              <c:numCache>
                <c:formatCode>General</c:formatCode>
                <c:ptCount val="4"/>
                <c:pt idx="0">
                  <c:v>1.0109999999999999</c:v>
                </c:pt>
                <c:pt idx="1">
                  <c:v>0.998</c:v>
                </c:pt>
                <c:pt idx="2">
                  <c:v>0.90200000000000002</c:v>
                </c:pt>
                <c:pt idx="3">
                  <c:v>4.3159999999999998</c:v>
                </c:pt>
              </c:numCache>
            </c:numRef>
          </c:yVal>
          <c:bubbleSize>
            <c:numRef>
              <c:f>Sheet1!$C$2:$C$5</c:f>
              <c:numCache>
                <c:formatCode>General</c:formatCode>
                <c:ptCount val="4"/>
                <c:pt idx="0">
                  <c:v>46398891</c:v>
                </c:pt>
                <c:pt idx="1">
                  <c:v>39830266</c:v>
                </c:pt>
                <c:pt idx="2">
                  <c:v>38066705</c:v>
                </c:pt>
                <c:pt idx="3">
                  <c:v>328785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
          <c:min val="2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C4F69D-51B1-43D3-9FD5-ADAD251BD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91F27B-1C31-4656-8989-A19C60E99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8EA0D5-AEA0-49B9-A114-36D4FCB1B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3F8B66-AE35-4757-A067-31D6529C6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A3BE1C-9F4B-4AF1-B655-3BE0F2638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0064EF-70CD-474A-8CB3-0200FC151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803CBF-4C76-4A8E-9424-4C25F9FD1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28706F2-62D5-48E7-8A73-E00D611FF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37.7157</c:v>
                </c:pt>
                <c:pt idx="1">
                  <c:v>289.75259999999997</c:v>
                </c:pt>
                <c:pt idx="2">
                  <c:v>237.35210000000001</c:v>
                </c:pt>
                <c:pt idx="3">
                  <c:v>241.79230000000001</c:v>
                </c:pt>
                <c:pt idx="4">
                  <c:v>605.11030000000005</c:v>
                </c:pt>
                <c:pt idx="5">
                  <c:v>84.542400000000001</c:v>
                </c:pt>
                <c:pt idx="6">
                  <c:v>74.712599999999995</c:v>
                </c:pt>
              </c:numCache>
            </c:numRef>
          </c:xVal>
          <c:yVal>
            <c:numRef>
              <c:f>Sheet1!$B$2:$B$8</c:f>
              <c:numCache>
                <c:formatCode>General</c:formatCode>
                <c:ptCount val="7"/>
                <c:pt idx="0">
                  <c:v>1.3149999999999999</c:v>
                </c:pt>
                <c:pt idx="1">
                  <c:v>1.9370000000000001</c:v>
                </c:pt>
                <c:pt idx="2">
                  <c:v>0.70399999999999996</c:v>
                </c:pt>
                <c:pt idx="3">
                  <c:v>0.64300000000000002</c:v>
                </c:pt>
                <c:pt idx="4">
                  <c:v>7.54</c:v>
                </c:pt>
                <c:pt idx="5">
                  <c:v>0.39500000000000002</c:v>
                </c:pt>
                <c:pt idx="6">
                  <c:v>0.377</c:v>
                </c:pt>
              </c:numCache>
            </c:numRef>
          </c:yVal>
          <c:bubbleSize>
            <c:numRef>
              <c:f>Sheet1!$C$2:$C$8</c:f>
              <c:numCache>
                <c:formatCode>General</c:formatCode>
                <c:ptCount val="7"/>
                <c:pt idx="0">
                  <c:v>50208653</c:v>
                </c:pt>
                <c:pt idx="1">
                  <c:v>27303679</c:v>
                </c:pt>
                <c:pt idx="2">
                  <c:v>16480779</c:v>
                </c:pt>
                <c:pt idx="3">
                  <c:v>13895559</c:v>
                </c:pt>
                <c:pt idx="4">
                  <c:v>13297903</c:v>
                </c:pt>
                <c:pt idx="5">
                  <c:v>13020373</c:v>
                </c:pt>
                <c:pt idx="6">
                  <c:v>6583303</c:v>
                </c:pt>
              </c:numCache>
            </c:numRef>
          </c:bubbleSize>
          <c:bubble3D val="0"/>
          <c:extLst>
            <c:ext xmlns:c15="http://schemas.microsoft.com/office/drawing/2012/chart" uri="{02D57815-91ED-43cb-92C2-25804820EDAC}">
              <c15:datalabelsRange>
                <c15:f>Sheet1!$E$2:$E$10</c15:f>
                <c15:dlblRangeCache>
                  <c:ptCount val="9"/>
                  <c:pt idx="0">
                    <c:v>Nivea</c:v>
                  </c:pt>
                  <c:pt idx="1">
                    <c:v>Neutrogena</c:v>
                  </c:pt>
                  <c:pt idx="2">
                    <c:v>Hawaiian Tropic</c:v>
                  </c:pt>
                  <c:pt idx="3">
                    <c:v>Banana Boat</c:v>
                  </c:pt>
                  <c:pt idx="4">
                    <c:v>Isdin</c:v>
                  </c:pt>
                  <c:pt idx="5">
                    <c:v>Caribbean Beach</c:v>
                  </c:pt>
                  <c:pt idx="6">
                    <c:v>Nuv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F89C0D-4941-41DC-87EA-D76BD8C9E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81E780-0C71-4EF0-A269-D8B94305A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2F0165-C662-42B2-90C3-48B2F1EC1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A706F3-3203-4FD2-8A4E-CED8CD0A0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BAEF7A5-435F-456D-9490-AE44B2E26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6E5FC7B-0354-445D-9932-A8703D5E2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5D24009-555E-4B97-A91D-58A2158A3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9DFDB4-BEB7-40CB-BEDF-630750BB1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74.4376</c:v>
                </c:pt>
                <c:pt idx="1">
                  <c:v>229.61429999999999</c:v>
                </c:pt>
                <c:pt idx="2">
                  <c:v>155.37010000000001</c:v>
                </c:pt>
                <c:pt idx="3">
                  <c:v>227.98609999999999</c:v>
                </c:pt>
              </c:numCache>
            </c:numRef>
          </c:xVal>
          <c:yVal>
            <c:numRef>
              <c:f>Sheet1!$B$2:$B$5</c:f>
              <c:numCache>
                <c:formatCode>General</c:formatCode>
                <c:ptCount val="4"/>
                <c:pt idx="0">
                  <c:v>0.89</c:v>
                </c:pt>
                <c:pt idx="1">
                  <c:v>0.96199999999999997</c:v>
                </c:pt>
                <c:pt idx="2">
                  <c:v>0.78200000000000003</c:v>
                </c:pt>
                <c:pt idx="3">
                  <c:v>3.1680000000000001</c:v>
                </c:pt>
              </c:numCache>
            </c:numRef>
          </c:yVal>
          <c:bubbleSize>
            <c:numRef>
              <c:f>Sheet1!$C$2:$C$5</c:f>
              <c:numCache>
                <c:formatCode>General</c:formatCode>
                <c:ptCount val="4"/>
                <c:pt idx="0">
                  <c:v>32727980</c:v>
                </c:pt>
                <c:pt idx="1">
                  <c:v>32367575</c:v>
                </c:pt>
                <c:pt idx="2">
                  <c:v>7441762</c:v>
                </c:pt>
                <c:pt idx="3">
                  <c:v>3017624</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6"/>
          <c:min val="12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B98080-3D73-4489-B7C9-C95A2E884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0BBD78-F31D-4C26-95C8-B525607B8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4FEAF8-F8D2-4AC1-9C1D-29A05327C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07AE4A7-EAF5-40FF-9A3B-7A8C3F000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6B8FC1-14A8-4CA3-9B77-9BC548820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A368F3-DE58-45E9-A96D-FE2FCBED82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2EA163C-F067-41E5-9989-4CD917C81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07F62AF-DFF6-4008-94F9-4F966D846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51330000000002</c:v>
                </c:pt>
                <c:pt idx="1">
                  <c:v>593.15440000000001</c:v>
                </c:pt>
                <c:pt idx="2">
                  <c:v>537.76139999999998</c:v>
                </c:pt>
                <c:pt idx="3">
                  <c:v>170.9725</c:v>
                </c:pt>
                <c:pt idx="4">
                  <c:v>135.572</c:v>
                </c:pt>
                <c:pt idx="5">
                  <c:v>557.71169999999995</c:v>
                </c:pt>
                <c:pt idx="6">
                  <c:v>439.13940000000002</c:v>
                </c:pt>
              </c:numCache>
            </c:numRef>
          </c:xVal>
          <c:yVal>
            <c:numRef>
              <c:f>Sheet1!$B$2:$B$8</c:f>
              <c:numCache>
                <c:formatCode>General</c:formatCode>
                <c:ptCount val="7"/>
                <c:pt idx="0">
                  <c:v>1.0049999999999999</c:v>
                </c:pt>
                <c:pt idx="1">
                  <c:v>1.7450000000000001</c:v>
                </c:pt>
                <c:pt idx="2">
                  <c:v>8.1189999999999998</c:v>
                </c:pt>
                <c:pt idx="3">
                  <c:v>0.52</c:v>
                </c:pt>
                <c:pt idx="4">
                  <c:v>0.313</c:v>
                </c:pt>
                <c:pt idx="5">
                  <c:v>8.9570000000000007</c:v>
                </c:pt>
                <c:pt idx="6">
                  <c:v>3.3319999999999999</c:v>
                </c:pt>
              </c:numCache>
            </c:numRef>
          </c:yVal>
          <c:bubbleSize>
            <c:numRef>
              <c:f>Sheet1!$C$2:$C$8</c:f>
              <c:numCache>
                <c:formatCode>General</c:formatCode>
                <c:ptCount val="7"/>
                <c:pt idx="0">
                  <c:v>18675262</c:v>
                </c:pt>
                <c:pt idx="1">
                  <c:v>3569010</c:v>
                </c:pt>
                <c:pt idx="2">
                  <c:v>2905525</c:v>
                </c:pt>
                <c:pt idx="3">
                  <c:v>1737764</c:v>
                </c:pt>
                <c:pt idx="4">
                  <c:v>1670789</c:v>
                </c:pt>
                <c:pt idx="5">
                  <c:v>924686</c:v>
                </c:pt>
                <c:pt idx="6">
                  <c:v>362290</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Hawaiian Tropic</c:v>
                  </c:pt>
                  <c:pt idx="4">
                    <c:v>Banana Boat</c:v>
                  </c:pt>
                  <c:pt idx="5">
                    <c:v>La Roche-Posay</c:v>
                  </c:pt>
                  <c:pt idx="6">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2"/>
          <c:min val="10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DF46F2-9928-42E9-8041-2929734F9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6C3D3C-1417-4906-BC72-0FBA676A5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EC6099-4EE5-4FB7-BBAE-5C82B76CB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9D1EB8-F879-4B6E-9068-4A0530896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20F2B7E-6DAE-42EB-8A67-1E7F47CF2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C9F3E3-871D-4AFC-9F42-B79DB9963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76DAC7B-6C53-4601-8620-E9A570B49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4A9A94F-128E-4CB6-93DC-14B60516B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97.21379999999999</c:v>
                </c:pt>
                <c:pt idx="1">
                  <c:v>592.08069999999998</c:v>
                </c:pt>
                <c:pt idx="2">
                  <c:v>245.92179999999999</c:v>
                </c:pt>
                <c:pt idx="3">
                  <c:v>524.37419999999997</c:v>
                </c:pt>
                <c:pt idx="4">
                  <c:v>527.82180000000005</c:v>
                </c:pt>
                <c:pt idx="5">
                  <c:v>392.76010000000002</c:v>
                </c:pt>
                <c:pt idx="6">
                  <c:v>271.24009999999998</c:v>
                </c:pt>
              </c:numCache>
            </c:numRef>
          </c:xVal>
          <c:yVal>
            <c:numRef>
              <c:f>Sheet1!$B$2:$B$8</c:f>
              <c:numCache>
                <c:formatCode>General</c:formatCode>
                <c:ptCount val="7"/>
                <c:pt idx="0">
                  <c:v>1.276</c:v>
                </c:pt>
                <c:pt idx="1">
                  <c:v>1.268</c:v>
                </c:pt>
                <c:pt idx="2">
                  <c:v>0.60099999999999998</c:v>
                </c:pt>
                <c:pt idx="3">
                  <c:v>1.06</c:v>
                </c:pt>
                <c:pt idx="4">
                  <c:v>3.38</c:v>
                </c:pt>
                <c:pt idx="5">
                  <c:v>1.738</c:v>
                </c:pt>
                <c:pt idx="6">
                  <c:v>0.52</c:v>
                </c:pt>
              </c:numCache>
            </c:numRef>
          </c:yVal>
          <c:bubbleSize>
            <c:numRef>
              <c:f>Sheet1!$C$2:$C$8</c:f>
              <c:numCache>
                <c:formatCode>General</c:formatCode>
                <c:ptCount val="7"/>
                <c:pt idx="0">
                  <c:v>3184941</c:v>
                </c:pt>
                <c:pt idx="1">
                  <c:v>2691007</c:v>
                </c:pt>
                <c:pt idx="2">
                  <c:v>2638741</c:v>
                </c:pt>
                <c:pt idx="3">
                  <c:v>1334008</c:v>
                </c:pt>
                <c:pt idx="4">
                  <c:v>562658</c:v>
                </c:pt>
                <c:pt idx="5">
                  <c:v>379799</c:v>
                </c:pt>
                <c:pt idx="6">
                  <c:v>259848</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Nivea</c:v>
                  </c:pt>
                  <c:pt idx="3">
                    <c:v>Eucerin</c:v>
                  </c:pt>
                  <c:pt idx="4">
                    <c:v>Avene</c:v>
                  </c:pt>
                  <c:pt idx="5">
                    <c:v>Photoderm</c:v>
                  </c:pt>
                  <c:pt idx="6">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7"/>
          <c:min val="19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D35F61-2FC0-4810-8A0A-DD0C31DC1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E16B929-E8B9-42CF-AB5D-674AC8BC1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3A1D3D-70A7-4F1C-891E-C58543DAB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73531B8-10B8-47CA-9BB9-7CBB5C9B0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DFF8E5-3DDB-41A7-8FDE-6A2B6DF86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7778658-BEAE-4492-A09D-68858F675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68B7BC9-EDF1-47DA-8BD1-F5F80F28EF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E78C26D-371D-4769-9A57-9060EF175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6.6112</c:v>
                </c:pt>
                <c:pt idx="1">
                  <c:v>257.62959999999998</c:v>
                </c:pt>
                <c:pt idx="2">
                  <c:v>270.70979999999997</c:v>
                </c:pt>
                <c:pt idx="3">
                  <c:v>571.76430000000005</c:v>
                </c:pt>
                <c:pt idx="4">
                  <c:v>686.59450000000004</c:v>
                </c:pt>
              </c:numCache>
            </c:numRef>
          </c:xVal>
          <c:yVal>
            <c:numRef>
              <c:f>Sheet1!$B$2:$B$6</c:f>
              <c:numCache>
                <c:formatCode>General</c:formatCode>
                <c:ptCount val="5"/>
                <c:pt idx="0">
                  <c:v>1.018</c:v>
                </c:pt>
                <c:pt idx="1">
                  <c:v>1.01</c:v>
                </c:pt>
                <c:pt idx="2">
                  <c:v>0.83699999999999997</c:v>
                </c:pt>
                <c:pt idx="3">
                  <c:v>4.298</c:v>
                </c:pt>
                <c:pt idx="4">
                  <c:v>2.6339999999999999</c:v>
                </c:pt>
              </c:numCache>
            </c:numRef>
          </c:yVal>
          <c:bubbleSize>
            <c:numRef>
              <c:f>Sheet1!$C$2:$C$6</c:f>
              <c:numCache>
                <c:formatCode>General</c:formatCode>
                <c:ptCount val="5"/>
                <c:pt idx="0">
                  <c:v>8288101</c:v>
                </c:pt>
                <c:pt idx="1">
                  <c:v>5468446</c:v>
                </c:pt>
                <c:pt idx="2">
                  <c:v>5208456</c:v>
                </c:pt>
                <c:pt idx="3">
                  <c:v>909677</c:v>
                </c:pt>
                <c:pt idx="4">
                  <c:v>34879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4"/>
          <c:min val="20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2DCD9E-3903-4FD9-BFFB-4976D21BF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F0A879-253A-4678-8EA4-BE6B0EC74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C5A6E9-5046-412D-8398-CDFDD204D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0024C3-4BE2-40F9-AF35-EDAC5F823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5068A4C-99AA-4ACF-A7B9-AB382EC14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B21E5A-F7DA-4FD8-A7F4-961FEDB1B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6F8D82-E347-4A9F-8E49-02C98CAAF2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C903454-CCC8-4C0D-B80C-88883B3E1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8622</c:v>
                </c:pt>
                <c:pt idx="1">
                  <c:v>557.1028</c:v>
                </c:pt>
                <c:pt idx="2">
                  <c:v>292.4117</c:v>
                </c:pt>
                <c:pt idx="3">
                  <c:v>233.63380000000001</c:v>
                </c:pt>
                <c:pt idx="4">
                  <c:v>83.241100000000003</c:v>
                </c:pt>
                <c:pt idx="5">
                  <c:v>229.74270000000001</c:v>
                </c:pt>
                <c:pt idx="6">
                  <c:v>503.99790000000002</c:v>
                </c:pt>
                <c:pt idx="7">
                  <c:v>610.58199999999999</c:v>
                </c:pt>
              </c:numCache>
            </c:numRef>
          </c:xVal>
          <c:yVal>
            <c:numRef>
              <c:f>Sheet1!$B$2:$B$9</c:f>
              <c:numCache>
                <c:formatCode>General</c:formatCode>
                <c:ptCount val="8"/>
                <c:pt idx="0">
                  <c:v>1.1379999999999999</c:v>
                </c:pt>
                <c:pt idx="1">
                  <c:v>5.6130000000000004</c:v>
                </c:pt>
                <c:pt idx="2">
                  <c:v>1.6160000000000001</c:v>
                </c:pt>
                <c:pt idx="3">
                  <c:v>0.504</c:v>
                </c:pt>
                <c:pt idx="4">
                  <c:v>0.32300000000000001</c:v>
                </c:pt>
                <c:pt idx="5">
                  <c:v>0.56899999999999995</c:v>
                </c:pt>
                <c:pt idx="6">
                  <c:v>3.5339999999999998</c:v>
                </c:pt>
                <c:pt idx="7">
                  <c:v>5.6070000000000002</c:v>
                </c:pt>
              </c:numCache>
            </c:numRef>
          </c:yVal>
          <c:bubbleSize>
            <c:numRef>
              <c:f>Sheet1!$C$2:$C$9</c:f>
              <c:numCache>
                <c:formatCode>General</c:formatCode>
                <c:ptCount val="8"/>
                <c:pt idx="0">
                  <c:v>37755157</c:v>
                </c:pt>
                <c:pt idx="1">
                  <c:v>21833973</c:v>
                </c:pt>
                <c:pt idx="2">
                  <c:v>19050625</c:v>
                </c:pt>
                <c:pt idx="3">
                  <c:v>10213069</c:v>
                </c:pt>
                <c:pt idx="4">
                  <c:v>9481823</c:v>
                </c:pt>
                <c:pt idx="5">
                  <c:v>8687950</c:v>
                </c:pt>
                <c:pt idx="6">
                  <c:v>6103415</c:v>
                </c:pt>
                <c:pt idx="7">
                  <c:v>5812130</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Neutrogena</c:v>
                  </c:pt>
                  <c:pt idx="3">
                    <c:v>Banana Boat</c:v>
                  </c:pt>
                  <c:pt idx="4">
                    <c:v>Caribbean Beach</c:v>
                  </c:pt>
                  <c:pt idx="5">
                    <c:v>Hawaiian Tropic</c:v>
                  </c:pt>
                  <c:pt idx="6">
                    <c:v>Avene</c:v>
                  </c:pt>
                  <c:pt idx="7">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3"/>
          <c:min val="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8148EA-9ED0-4D11-BC3C-36598074E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ACD620F-E71B-4F53-AE20-3334E7F09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0775EF-0D81-4360-9645-81197AD2FE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F9E789-8E17-48C8-8DCB-554219CDE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116B3A-9A12-443D-B2F6-006FFC6A7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70654D-91F6-4719-AB21-AD5020AF3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EC46176-0861-4AF0-BFF4-8BB94D505D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9A45699-D263-4959-8B00-973E6DEDE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6.62960000000001</c:v>
                </c:pt>
                <c:pt idx="1">
                  <c:v>228.48439999999999</c:v>
                </c:pt>
                <c:pt idx="2">
                  <c:v>125.84229999999999</c:v>
                </c:pt>
                <c:pt idx="3">
                  <c:v>220.01349999999999</c:v>
                </c:pt>
                <c:pt idx="4">
                  <c:v>546.37030000000004</c:v>
                </c:pt>
                <c:pt idx="5">
                  <c:v>488.51229999999998</c:v>
                </c:pt>
              </c:numCache>
            </c:numRef>
          </c:xVal>
          <c:yVal>
            <c:numRef>
              <c:f>Sheet1!$B$2:$B$7</c:f>
              <c:numCache>
                <c:formatCode>General</c:formatCode>
                <c:ptCount val="6"/>
                <c:pt idx="0">
                  <c:v>0.84299999999999997</c:v>
                </c:pt>
                <c:pt idx="1">
                  <c:v>0.95399999999999996</c:v>
                </c:pt>
                <c:pt idx="2">
                  <c:v>0.82499999999999996</c:v>
                </c:pt>
                <c:pt idx="3">
                  <c:v>3.1019999999999999</c:v>
                </c:pt>
                <c:pt idx="4">
                  <c:v>5.0730000000000004</c:v>
                </c:pt>
                <c:pt idx="5">
                  <c:v>2.99</c:v>
                </c:pt>
              </c:numCache>
            </c:numRef>
          </c:yVal>
          <c:bubbleSize>
            <c:numRef>
              <c:f>Sheet1!$C$2:$C$7</c:f>
              <c:numCache>
                <c:formatCode>General</c:formatCode>
                <c:ptCount val="6"/>
                <c:pt idx="0">
                  <c:v>19872067</c:v>
                </c:pt>
                <c:pt idx="1">
                  <c:v>19481266</c:v>
                </c:pt>
                <c:pt idx="2">
                  <c:v>5647804</c:v>
                </c:pt>
                <c:pt idx="3">
                  <c:v>1917198</c:v>
                </c:pt>
                <c:pt idx="4">
                  <c:v>979642</c:v>
                </c:pt>
                <c:pt idx="5">
                  <c:v>635066</c:v>
                </c:pt>
              </c:numCache>
            </c:numRef>
          </c:bubbleSize>
          <c:bubble3D val="0"/>
          <c:extLst>
            <c:ext xmlns:c15="http://schemas.microsoft.com/office/drawing/2012/chart" uri="{02D57815-91ED-43cb-92C2-25804820EDAC}">
              <c15:datalabelsRange>
                <c15:f>Sheet1!$E$2:$E$10</c15:f>
                <c15:dlblRangeCache>
                  <c:ptCount val="9"/>
                  <c:pt idx="0">
                    <c:v>Hawaiian Tropic</c:v>
                  </c:pt>
                  <c:pt idx="1">
                    <c:v>Nivea</c:v>
                  </c:pt>
                  <c:pt idx="2">
                    <c:v>Banana Boat</c:v>
                  </c:pt>
                  <c:pt idx="3">
                    <c:v>Beauty Care</c:v>
                  </c:pt>
                  <c:pt idx="4">
                    <c:v>La Roche-Posay</c:v>
                  </c:pt>
                  <c:pt idx="5">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56"/>
          <c:min val="10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FA13A9-52B2-47F3-99D3-E8EC04C72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3B5D53-5524-402B-9F55-70152A735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BE71E2-A4DF-43C5-98EC-443AEF8D8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90FE2F-E502-44CA-9203-9A09AAEBB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F2067E6-5880-44C5-8787-01EBB3CA3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2FC286-C5E9-44C7-A245-293B77BFE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76C9BA-14BB-439E-9F91-F7029A0DC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C36DA6E-0237-4E7B-87C4-83FC3FF9E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95.89710000000002</c:v>
                </c:pt>
                <c:pt idx="1">
                  <c:v>455.8596</c:v>
                </c:pt>
                <c:pt idx="2">
                  <c:v>304.61450000000002</c:v>
                </c:pt>
                <c:pt idx="3">
                  <c:v>427.7079</c:v>
                </c:pt>
                <c:pt idx="4">
                  <c:v>503.90859999999998</c:v>
                </c:pt>
                <c:pt idx="5">
                  <c:v>166.61779999999999</c:v>
                </c:pt>
                <c:pt idx="6">
                  <c:v>295.6549</c:v>
                </c:pt>
              </c:numCache>
            </c:numRef>
          </c:xVal>
          <c:yVal>
            <c:numRef>
              <c:f>Sheet1!$B$2:$B$8</c:f>
              <c:numCache>
                <c:formatCode>General</c:formatCode>
                <c:ptCount val="7"/>
                <c:pt idx="0">
                  <c:v>2.2189999999999999</c:v>
                </c:pt>
                <c:pt idx="1">
                  <c:v>1.8</c:v>
                </c:pt>
                <c:pt idx="2">
                  <c:v>0.74399999999999999</c:v>
                </c:pt>
                <c:pt idx="3">
                  <c:v>1.121</c:v>
                </c:pt>
                <c:pt idx="4">
                  <c:v>0.54100000000000004</c:v>
                </c:pt>
                <c:pt idx="5">
                  <c:v>0.999</c:v>
                </c:pt>
                <c:pt idx="6">
                  <c:v>2.3410000000000002</c:v>
                </c:pt>
              </c:numCache>
            </c:numRef>
          </c:yVal>
          <c:bubbleSize>
            <c:numRef>
              <c:f>Sheet1!$C$2:$C$8</c:f>
              <c:numCache>
                <c:formatCode>General</c:formatCode>
                <c:ptCount val="7"/>
                <c:pt idx="0">
                  <c:v>6292251</c:v>
                </c:pt>
                <c:pt idx="1">
                  <c:v>4300124</c:v>
                </c:pt>
                <c:pt idx="2">
                  <c:v>2476516</c:v>
                </c:pt>
                <c:pt idx="3">
                  <c:v>2076094</c:v>
                </c:pt>
                <c:pt idx="4">
                  <c:v>1069294</c:v>
                </c:pt>
                <c:pt idx="5">
                  <c:v>768941</c:v>
                </c:pt>
                <c:pt idx="6">
                  <c:v>709276</c:v>
                </c:pt>
              </c:numCache>
            </c:numRef>
          </c:bubbleSize>
          <c:bubble3D val="0"/>
          <c:extLst>
            <c:ext xmlns:c15="http://schemas.microsoft.com/office/drawing/2012/chart" uri="{02D57815-91ED-43cb-92C2-25804820EDAC}">
              <c15:datalabelsRange>
                <c15:f>Sheet1!$E$2:$E$10</c15:f>
                <c15:dlblRangeCache>
                  <c:ptCount val="9"/>
                  <c:pt idx="0">
                    <c:v>La Roche-Posay</c:v>
                  </c:pt>
                  <c:pt idx="1">
                    <c:v>Avene</c:v>
                  </c:pt>
                  <c:pt idx="2">
                    <c:v>Vichy</c:v>
                  </c:pt>
                  <c:pt idx="3">
                    <c:v>Eucerin</c:v>
                  </c:pt>
                  <c:pt idx="4">
                    <c:v>Eclipsol</c:v>
                  </c:pt>
                  <c:pt idx="5">
                    <c:v>Neutrogena</c:v>
                  </c:pt>
                  <c:pt idx="6">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05"/>
          <c:min val="13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1B5B02-8C6A-4BE0-AE47-326FE179C7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62C600-179F-4C4F-857F-D923161F6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5D4A75-3869-48B2-993B-215C2EDCD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131859-68FA-4E1F-B4EF-63A58ACA6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713820-8668-4E64-8265-7FE9FFEE7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BE7512-826C-4DA0-9253-9733AA08D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54AF85C-79C6-4CED-B310-7DE257389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66BE6C-53BD-41F6-B26C-456803FCC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1.18689999999998</c:v>
                </c:pt>
                <c:pt idx="1">
                  <c:v>568.3691</c:v>
                </c:pt>
                <c:pt idx="2">
                  <c:v>567.94410000000005</c:v>
                </c:pt>
                <c:pt idx="3">
                  <c:v>524.35059999999999</c:v>
                </c:pt>
                <c:pt idx="4">
                  <c:v>126.7676</c:v>
                </c:pt>
                <c:pt idx="5">
                  <c:v>148.7473</c:v>
                </c:pt>
                <c:pt idx="6">
                  <c:v>484.17680000000001</c:v>
                </c:pt>
                <c:pt idx="7">
                  <c:v>503.7749</c:v>
                </c:pt>
              </c:numCache>
            </c:numRef>
          </c:xVal>
          <c:yVal>
            <c:numRef>
              <c:f>Sheet1!$B$2:$B$9</c:f>
              <c:numCache>
                <c:formatCode>General</c:formatCode>
                <c:ptCount val="8"/>
                <c:pt idx="0">
                  <c:v>0.79200000000000004</c:v>
                </c:pt>
                <c:pt idx="1">
                  <c:v>1.3979999999999999</c:v>
                </c:pt>
                <c:pt idx="2">
                  <c:v>6.423</c:v>
                </c:pt>
                <c:pt idx="3">
                  <c:v>6.2460000000000004</c:v>
                </c:pt>
                <c:pt idx="4">
                  <c:v>0.27300000000000002</c:v>
                </c:pt>
                <c:pt idx="5">
                  <c:v>0.35399999999999998</c:v>
                </c:pt>
                <c:pt idx="6">
                  <c:v>17.97</c:v>
                </c:pt>
                <c:pt idx="7">
                  <c:v>3.1840000000000002</c:v>
                </c:pt>
              </c:numCache>
            </c:numRef>
          </c:yVal>
          <c:bubbleSize>
            <c:numRef>
              <c:f>Sheet1!$C$2:$C$9</c:f>
              <c:numCache>
                <c:formatCode>General</c:formatCode>
                <c:ptCount val="8"/>
                <c:pt idx="0">
                  <c:v>13823058</c:v>
                </c:pt>
                <c:pt idx="1">
                  <c:v>4669152</c:v>
                </c:pt>
                <c:pt idx="2">
                  <c:v>4132361</c:v>
                </c:pt>
                <c:pt idx="3">
                  <c:v>2020323</c:v>
                </c:pt>
                <c:pt idx="4">
                  <c:v>933136</c:v>
                </c:pt>
                <c:pt idx="5">
                  <c:v>672784</c:v>
                </c:pt>
                <c:pt idx="6">
                  <c:v>635240</c:v>
                </c:pt>
                <c:pt idx="7">
                  <c:v>393952</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La Roche-Posay</c:v>
                  </c:pt>
                  <c:pt idx="4">
                    <c:v>Banana Boat</c:v>
                  </c:pt>
                  <c:pt idx="5">
                    <c:v>Hawaiian Tropic</c:v>
                  </c:pt>
                  <c:pt idx="6">
                    <c:v>Photoderm</c:v>
                  </c:pt>
                  <c:pt idx="7">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2"/>
          <c:min val="10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B0EB96-A0CB-4114-827C-2733844AF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3EC353-48BA-4262-BE6A-94FAD86AEF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DF7BFD-31AE-42FB-9290-D8A2D38D0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059D75-73E2-4DCA-BA13-82B38956A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6BE18F-BDFC-4C06-B9C4-C24A77330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D8CF67-E946-4990-A200-008A1F8A9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31E6EB3-C6EA-416F-BF3F-A37D0FCC4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E613B29-4D2D-4902-ACAB-1E4ABAE02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28.62750000000005</c:v>
                </c:pt>
                <c:pt idx="1">
                  <c:v>549.80380000000002</c:v>
                </c:pt>
                <c:pt idx="2">
                  <c:v>529.0403</c:v>
                </c:pt>
                <c:pt idx="3">
                  <c:v>233.2843</c:v>
                </c:pt>
                <c:pt idx="4">
                  <c:v>529.23760000000004</c:v>
                </c:pt>
                <c:pt idx="5">
                  <c:v>362.66230000000002</c:v>
                </c:pt>
              </c:numCache>
            </c:numRef>
          </c:xVal>
          <c:yVal>
            <c:numRef>
              <c:f>Sheet1!$B$2:$B$7</c:f>
              <c:numCache>
                <c:formatCode>General</c:formatCode>
                <c:ptCount val="6"/>
                <c:pt idx="0">
                  <c:v>1.0289999999999999</c:v>
                </c:pt>
                <c:pt idx="1">
                  <c:v>1.105</c:v>
                </c:pt>
                <c:pt idx="2">
                  <c:v>1.228</c:v>
                </c:pt>
                <c:pt idx="3">
                  <c:v>0.55500000000000005</c:v>
                </c:pt>
                <c:pt idx="4">
                  <c:v>1.0680000000000001</c:v>
                </c:pt>
                <c:pt idx="5">
                  <c:v>1.175</c:v>
                </c:pt>
              </c:numCache>
            </c:numRef>
          </c:yVal>
          <c:bubbleSize>
            <c:numRef>
              <c:f>Sheet1!$C$2:$C$7</c:f>
              <c:numCache>
                <c:formatCode>General</c:formatCode>
                <c:ptCount val="6"/>
                <c:pt idx="0">
                  <c:v>8379275</c:v>
                </c:pt>
                <c:pt idx="1">
                  <c:v>5299559</c:v>
                </c:pt>
                <c:pt idx="2">
                  <c:v>2663718</c:v>
                </c:pt>
                <c:pt idx="3">
                  <c:v>2100492</c:v>
                </c:pt>
                <c:pt idx="4">
                  <c:v>1220422</c:v>
                </c:pt>
                <c:pt idx="5">
                  <c:v>803297</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Nivea</c:v>
                  </c:pt>
                  <c:pt idx="4">
                    <c:v>Eucerin</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0"/>
          <c:min val="18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409A90-5C9A-4A32-AA51-41A0767EB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EE59F3-788D-4907-B5E1-FA0F0DFE7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622838-4F8E-4590-ACEB-310EF50AAA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98F6A9-38C9-43E7-AB09-37695AABF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320048-058E-4897-A24E-25153D217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1EBC48-3F60-4564-BBD4-0B6247E65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391B2BA-7C04-414A-9095-9F323D92E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489A147-E943-45A5-8632-5659ED38C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1.35409999999999</c:v>
                </c:pt>
                <c:pt idx="1">
                  <c:v>282.93849999999998</c:v>
                </c:pt>
                <c:pt idx="2">
                  <c:v>240.31950000000001</c:v>
                </c:pt>
                <c:pt idx="3">
                  <c:v>565.61289999999997</c:v>
                </c:pt>
                <c:pt idx="4">
                  <c:v>670.11059999999998</c:v>
                </c:pt>
                <c:pt idx="5">
                  <c:v>531.4</c:v>
                </c:pt>
              </c:numCache>
            </c:numRef>
          </c:xVal>
          <c:yVal>
            <c:numRef>
              <c:f>Sheet1!$B$2:$B$7</c:f>
              <c:numCache>
                <c:formatCode>General</c:formatCode>
                <c:ptCount val="6"/>
                <c:pt idx="0">
                  <c:v>0.81100000000000005</c:v>
                </c:pt>
                <c:pt idx="1">
                  <c:v>1.0129999999999999</c:v>
                </c:pt>
                <c:pt idx="2">
                  <c:v>0.89900000000000002</c:v>
                </c:pt>
                <c:pt idx="3">
                  <c:v>4.1340000000000003</c:v>
                </c:pt>
                <c:pt idx="4">
                  <c:v>2.5720000000000001</c:v>
                </c:pt>
                <c:pt idx="5">
                  <c:v>2.0819999999999999</c:v>
                </c:pt>
              </c:numCache>
            </c:numRef>
          </c:yVal>
          <c:bubbleSize>
            <c:numRef>
              <c:f>Sheet1!$C$2:$C$7</c:f>
              <c:numCache>
                <c:formatCode>General</c:formatCode>
                <c:ptCount val="6"/>
                <c:pt idx="0">
                  <c:v>4361752</c:v>
                </c:pt>
                <c:pt idx="1">
                  <c:v>4217482</c:v>
                </c:pt>
                <c:pt idx="2">
                  <c:v>3981133</c:v>
                </c:pt>
                <c:pt idx="3">
                  <c:v>914596</c:v>
                </c:pt>
                <c:pt idx="4">
                  <c:v>478459</c:v>
                </c:pt>
                <c:pt idx="5">
                  <c:v>281642</c:v>
                </c:pt>
              </c:numCache>
            </c:numRef>
          </c:bubbleSize>
          <c:bubble3D val="0"/>
          <c:extLst>
            <c:ext xmlns:c15="http://schemas.microsoft.com/office/drawing/2012/chart" uri="{02D57815-91ED-43cb-92C2-25804820EDAC}">
              <c15:datalabelsRange>
                <c15:f>Sheet1!$E$2:$E$10</c15:f>
                <c15:dlblRangeCache>
                  <c:ptCount val="9"/>
                  <c:pt idx="0">
                    <c:v>Banana Boat</c:v>
                  </c:pt>
                  <c:pt idx="1">
                    <c:v>Nivea</c:v>
                  </c:pt>
                  <c:pt idx="2">
                    <c:v>Hawaiian Tropic</c:v>
                  </c:pt>
                  <c:pt idx="3">
                    <c:v>Isdin</c:v>
                  </c:pt>
                  <c:pt idx="4">
                    <c:v>Vichy</c:v>
                  </c:pt>
                  <c:pt idx="5">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4"/>
          <c:min val="19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2BD875-7013-47BC-861A-C8083FF19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1D5124C-AF05-468E-A7B2-99FDB08CA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7E7377-BEC6-422F-B25E-E4512FEA3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1933AA-7005-4A0B-ACD5-FA8E6FF28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C4F879-20C8-4EC7-AC7C-CF988064B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90D8B61-294B-45E2-B441-7163400B7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DF6268D-DF51-40D5-905E-E5080A80B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F63E831-18F4-4260-9467-E513E2503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33.97730000000001</c:v>
                </c:pt>
                <c:pt idx="1">
                  <c:v>243.59569999999999</c:v>
                </c:pt>
                <c:pt idx="2">
                  <c:v>280.85379999999998</c:v>
                </c:pt>
                <c:pt idx="3">
                  <c:v>87.398799999999994</c:v>
                </c:pt>
                <c:pt idx="4">
                  <c:v>229.4393</c:v>
                </c:pt>
                <c:pt idx="5">
                  <c:v>73.717100000000002</c:v>
                </c:pt>
              </c:numCache>
            </c:numRef>
          </c:xVal>
          <c:yVal>
            <c:numRef>
              <c:f>Sheet1!$B$2:$B$7</c:f>
              <c:numCache>
                <c:formatCode>General</c:formatCode>
                <c:ptCount val="6"/>
                <c:pt idx="0">
                  <c:v>1.476</c:v>
                </c:pt>
                <c:pt idx="1">
                  <c:v>0.85599999999999998</c:v>
                </c:pt>
                <c:pt idx="2">
                  <c:v>2.1349999999999998</c:v>
                </c:pt>
                <c:pt idx="3">
                  <c:v>0.49099999999999999</c:v>
                </c:pt>
                <c:pt idx="4">
                  <c:v>0.77900000000000003</c:v>
                </c:pt>
                <c:pt idx="5">
                  <c:v>0.46400000000000002</c:v>
                </c:pt>
              </c:numCache>
            </c:numRef>
          </c:yVal>
          <c:bubbleSize>
            <c:numRef>
              <c:f>Sheet1!$C$2:$C$7</c:f>
              <c:numCache>
                <c:formatCode>General</c:formatCode>
                <c:ptCount val="6"/>
                <c:pt idx="0">
                  <c:v>39156801</c:v>
                </c:pt>
                <c:pt idx="1">
                  <c:v>13549521</c:v>
                </c:pt>
                <c:pt idx="2">
                  <c:v>12857206</c:v>
                </c:pt>
                <c:pt idx="3">
                  <c:v>10152939</c:v>
                </c:pt>
                <c:pt idx="4">
                  <c:v>9754842</c:v>
                </c:pt>
                <c:pt idx="5">
                  <c:v>3202788</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Neutrogena</c:v>
                  </c:pt>
                  <c:pt idx="3">
                    <c:v>Caribbean Beach</c:v>
                  </c:pt>
                  <c:pt idx="4">
                    <c:v>Banana Boat</c:v>
                  </c:pt>
                  <c:pt idx="5">
                    <c:v>Nuv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7"/>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30CE0B-9C03-4DC5-AFE2-F9607781D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C9F94E-5D50-46BE-9907-B1FDC7B90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2F4593-D46A-464C-9E31-DF7F3E720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ACAC73-6621-4042-A503-C7ADA6C75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C6C3EF7-22D7-41AF-BD75-4DC2FEE52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C5C4353-E304-4629-9B67-F937E75ABE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CFC240D-2C0A-4192-8987-602B9C112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37F2404-C206-43C7-BF3E-DD5C9FFBA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27.62569999999999</c:v>
                </c:pt>
                <c:pt idx="1">
                  <c:v>198.30019999999999</c:v>
                </c:pt>
                <c:pt idx="2">
                  <c:v>173.0787</c:v>
                </c:pt>
                <c:pt idx="3">
                  <c:v>156.0933</c:v>
                </c:pt>
                <c:pt idx="4">
                  <c:v>241.49350000000001</c:v>
                </c:pt>
              </c:numCache>
            </c:numRef>
          </c:xVal>
          <c:yVal>
            <c:numRef>
              <c:f>Sheet1!$B$2:$B$6</c:f>
              <c:numCache>
                <c:formatCode>General</c:formatCode>
                <c:ptCount val="5"/>
                <c:pt idx="0">
                  <c:v>1.004</c:v>
                </c:pt>
                <c:pt idx="1">
                  <c:v>0.875</c:v>
                </c:pt>
                <c:pt idx="2">
                  <c:v>0.875</c:v>
                </c:pt>
                <c:pt idx="3">
                  <c:v>2.3980000000000001</c:v>
                </c:pt>
                <c:pt idx="4">
                  <c:v>0.90800000000000003</c:v>
                </c:pt>
              </c:numCache>
            </c:numRef>
          </c:yVal>
          <c:bubbleSize>
            <c:numRef>
              <c:f>Sheet1!$C$2:$C$6</c:f>
              <c:numCache>
                <c:formatCode>General</c:formatCode>
                <c:ptCount val="5"/>
                <c:pt idx="0">
                  <c:v>33943091</c:v>
                </c:pt>
                <c:pt idx="1">
                  <c:v>23165034</c:v>
                </c:pt>
                <c:pt idx="2">
                  <c:v>3444094</c:v>
                </c:pt>
                <c:pt idx="3">
                  <c:v>2234476</c:v>
                </c:pt>
                <c:pt idx="4">
                  <c:v>701297</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pt idx="4">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0"/>
          <c:min val="12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332A94-2E23-4BD8-9BF1-D832D9D6A6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163718-2F4E-4668-BE1D-A6DC7329C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45431D-C343-4A62-A83B-BF795695D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E6A170-06D7-4A84-8FE9-F809847A14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4AA99F-805A-424A-A551-D13F80351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367013A-0AEC-470B-AE81-1F1871C90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67F84ED-14CC-438D-A47F-59692159C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6D7D732-29CB-42C0-9D5D-83730D1D0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7.07990000000001</c:v>
                </c:pt>
                <c:pt idx="1">
                  <c:v>150.4076</c:v>
                </c:pt>
                <c:pt idx="2">
                  <c:v>131.8665</c:v>
                </c:pt>
                <c:pt idx="3">
                  <c:v>598.67769999999996</c:v>
                </c:pt>
                <c:pt idx="4">
                  <c:v>519.697</c:v>
                </c:pt>
              </c:numCache>
            </c:numRef>
          </c:xVal>
          <c:yVal>
            <c:numRef>
              <c:f>Sheet1!$B$2:$B$6</c:f>
              <c:numCache>
                <c:formatCode>General</c:formatCode>
                <c:ptCount val="5"/>
                <c:pt idx="0">
                  <c:v>1.224</c:v>
                </c:pt>
                <c:pt idx="1">
                  <c:v>0.57199999999999995</c:v>
                </c:pt>
                <c:pt idx="2">
                  <c:v>0.38700000000000001</c:v>
                </c:pt>
                <c:pt idx="3">
                  <c:v>2.25</c:v>
                </c:pt>
                <c:pt idx="4">
                  <c:v>9.4689999999999994</c:v>
                </c:pt>
              </c:numCache>
            </c:numRef>
          </c:yVal>
          <c:bubbleSize>
            <c:numRef>
              <c:f>Sheet1!$C$2:$C$6</c:f>
              <c:numCache>
                <c:formatCode>General</c:formatCode>
                <c:ptCount val="5"/>
                <c:pt idx="0">
                  <c:v>20540249</c:v>
                </c:pt>
                <c:pt idx="1">
                  <c:v>2871732</c:v>
                </c:pt>
                <c:pt idx="2">
                  <c:v>1293742</c:v>
                </c:pt>
                <c:pt idx="3">
                  <c:v>705841</c:v>
                </c:pt>
                <c:pt idx="4">
                  <c:v>571147</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8"/>
          <c:min val="10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135425-7A3A-48AE-A0AF-1CE5A9910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65182D-0381-47FB-8333-F4FCD9007E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5F07B2-9394-4B33-94BD-B44A215B6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FF712C-A15E-4069-BF2D-BEEFC6F9B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448D9E-F27C-4701-8E2D-A40C16C04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07BDE52-4CFA-4669-82EF-D7D7B0A86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B4E724-7E40-4046-A7D1-67DE12102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3854927-0A26-44DC-8200-A1CFD23B9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9.71459999999999</c:v>
                </c:pt>
                <c:pt idx="1">
                  <c:v>617.13969999999995</c:v>
                </c:pt>
                <c:pt idx="2">
                  <c:v>464.42110000000002</c:v>
                </c:pt>
                <c:pt idx="3">
                  <c:v>530.04229999999995</c:v>
                </c:pt>
                <c:pt idx="4">
                  <c:v>298.69970000000001</c:v>
                </c:pt>
                <c:pt idx="5">
                  <c:v>261.82249999999999</c:v>
                </c:pt>
                <c:pt idx="6">
                  <c:v>609.02700000000004</c:v>
                </c:pt>
              </c:numCache>
            </c:numRef>
          </c:xVal>
          <c:yVal>
            <c:numRef>
              <c:f>Sheet1!$B$2:$B$8</c:f>
              <c:numCache>
                <c:formatCode>General</c:formatCode>
                <c:ptCount val="7"/>
                <c:pt idx="0">
                  <c:v>0.69</c:v>
                </c:pt>
                <c:pt idx="1">
                  <c:v>12.285</c:v>
                </c:pt>
                <c:pt idx="2">
                  <c:v>1.4259999999999999</c:v>
                </c:pt>
                <c:pt idx="3">
                  <c:v>3.6560000000000001</c:v>
                </c:pt>
                <c:pt idx="4">
                  <c:v>1.4490000000000001</c:v>
                </c:pt>
                <c:pt idx="5">
                  <c:v>0.60399999999999998</c:v>
                </c:pt>
                <c:pt idx="6">
                  <c:v>0</c:v>
                </c:pt>
              </c:numCache>
            </c:numRef>
          </c:yVal>
          <c:bubbleSize>
            <c:numRef>
              <c:f>Sheet1!$C$2:$C$8</c:f>
              <c:numCache>
                <c:formatCode>General</c:formatCode>
                <c:ptCount val="7"/>
                <c:pt idx="0">
                  <c:v>1756992</c:v>
                </c:pt>
                <c:pt idx="1">
                  <c:v>560980</c:v>
                </c:pt>
                <c:pt idx="2">
                  <c:v>273544</c:v>
                </c:pt>
                <c:pt idx="3">
                  <c:v>200356</c:v>
                </c:pt>
                <c:pt idx="4">
                  <c:v>172051</c:v>
                </c:pt>
                <c:pt idx="5">
                  <c:v>104729</c:v>
                </c:pt>
                <c:pt idx="6">
                  <c:v>67602</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La Roche-Posay</c:v>
                  </c:pt>
                  <c:pt idx="4">
                    <c:v>Photoderm</c:v>
                  </c:pt>
                  <c:pt idx="5">
                    <c:v>Banana Boat</c:v>
                  </c:pt>
                  <c:pt idx="6">
                    <c:v>Av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1"/>
          <c:min val="2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CBEE1A-6579-463C-B39B-75F1171B7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C2E4103-6157-4298-AFBD-8C2AFB733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944002-868F-4AA4-9E70-4B6C08A84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C8F44E3-FDD7-453B-9ED6-6637663D6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E66CECE-68D2-4DBE-ADD2-1649728B5A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AB93A8F-688C-4661-8B65-614AA4F2E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46E3D15-D9EC-4AB8-8899-309725E7D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C894531-492F-4242-A795-FCA2F8C4F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84.52749999999997</c:v>
                </c:pt>
                <c:pt idx="1">
                  <c:v>263.97770000000003</c:v>
                </c:pt>
                <c:pt idx="2">
                  <c:v>257.27370000000002</c:v>
                </c:pt>
              </c:numCache>
            </c:numRef>
          </c:xVal>
          <c:yVal>
            <c:numRef>
              <c:f>Sheet1!$B$2:$B$4</c:f>
              <c:numCache>
                <c:formatCode>General</c:formatCode>
                <c:ptCount val="3"/>
                <c:pt idx="0">
                  <c:v>1.044</c:v>
                </c:pt>
                <c:pt idx="1">
                  <c:v>1.002</c:v>
                </c:pt>
                <c:pt idx="2">
                  <c:v>0.91800000000000004</c:v>
                </c:pt>
              </c:numCache>
            </c:numRef>
          </c:yVal>
          <c:bubbleSize>
            <c:numRef>
              <c:f>Sheet1!$C$2:$C$4</c:f>
              <c:numCache>
                <c:formatCode>General</c:formatCode>
                <c:ptCount val="3"/>
                <c:pt idx="0">
                  <c:v>12646396</c:v>
                </c:pt>
                <c:pt idx="1">
                  <c:v>9949583</c:v>
                </c:pt>
                <c:pt idx="2">
                  <c:v>7856882</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1"/>
          <c:min val="20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53FA30-879B-4BDF-8FB5-4769F2D05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A82EBE-06A3-4121-8F45-0845BFC80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504808-162C-4D67-A207-14F586D83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9E2753-0293-466E-88A6-CCA11C300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7FA0C1-46D2-475A-8422-71CC3A81A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687FFC-4857-45C7-99D5-FA1A4F3FF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C4C670-FE4C-4FE4-8856-92EBBAB1D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3D6083E-23B9-44F5-B27B-DC709F966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37.44589999999999</c:v>
                </c:pt>
                <c:pt idx="1">
                  <c:v>289.0043</c:v>
                </c:pt>
                <c:pt idx="2">
                  <c:v>234.1463</c:v>
                </c:pt>
                <c:pt idx="3">
                  <c:v>84.979500000000002</c:v>
                </c:pt>
                <c:pt idx="4">
                  <c:v>240.13929999999999</c:v>
                </c:pt>
                <c:pt idx="5">
                  <c:v>601.13319999999999</c:v>
                </c:pt>
                <c:pt idx="6">
                  <c:v>74.441800000000001</c:v>
                </c:pt>
              </c:numCache>
            </c:numRef>
          </c:xVal>
          <c:yVal>
            <c:numRef>
              <c:f>Sheet1!$B$2:$B$8</c:f>
              <c:numCache>
                <c:formatCode>General</c:formatCode>
                <c:ptCount val="7"/>
                <c:pt idx="0">
                  <c:v>1.405</c:v>
                </c:pt>
                <c:pt idx="1">
                  <c:v>2.0350000000000001</c:v>
                </c:pt>
                <c:pt idx="2">
                  <c:v>0.749</c:v>
                </c:pt>
                <c:pt idx="3">
                  <c:v>0.45200000000000001</c:v>
                </c:pt>
                <c:pt idx="4">
                  <c:v>0.69</c:v>
                </c:pt>
                <c:pt idx="5">
                  <c:v>8.5909999999999993</c:v>
                </c:pt>
                <c:pt idx="6">
                  <c:v>0.40500000000000003</c:v>
                </c:pt>
              </c:numCache>
            </c:numRef>
          </c:yVal>
          <c:bubbleSize>
            <c:numRef>
              <c:f>Sheet1!$C$2:$C$8</c:f>
              <c:numCache>
                <c:formatCode>General</c:formatCode>
                <c:ptCount val="7"/>
                <c:pt idx="0">
                  <c:v>36316877</c:v>
                </c:pt>
                <c:pt idx="1">
                  <c:v>15832523</c:v>
                </c:pt>
                <c:pt idx="2">
                  <c:v>13015722</c:v>
                </c:pt>
                <c:pt idx="3">
                  <c:v>12461813</c:v>
                </c:pt>
                <c:pt idx="4">
                  <c:v>11205618</c:v>
                </c:pt>
                <c:pt idx="5">
                  <c:v>7913318</c:v>
                </c:pt>
                <c:pt idx="6">
                  <c:v>4963182</c:v>
                </c:pt>
              </c:numCache>
            </c:numRef>
          </c:bubbleSize>
          <c:bubble3D val="0"/>
          <c:extLst>
            <c:ext xmlns:c15="http://schemas.microsoft.com/office/drawing/2012/chart" uri="{02D57815-91ED-43cb-92C2-25804820EDAC}">
              <c15:datalabelsRange>
                <c15:f>Sheet1!$E$2:$E$10</c15:f>
                <c15:dlblRangeCache>
                  <c:ptCount val="9"/>
                  <c:pt idx="0">
                    <c:v>Nivea</c:v>
                  </c:pt>
                  <c:pt idx="1">
                    <c:v>Neutrogena</c:v>
                  </c:pt>
                  <c:pt idx="2">
                    <c:v>Hawaiian Tropic</c:v>
                  </c:pt>
                  <c:pt idx="3">
                    <c:v>Caribbean Beach</c:v>
                  </c:pt>
                  <c:pt idx="4">
                    <c:v>Banana Boat</c:v>
                  </c:pt>
                  <c:pt idx="5">
                    <c:v>Isdin</c:v>
                  </c:pt>
                  <c:pt idx="6">
                    <c:v>Nuv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1"/>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CA40C2-83E8-48C3-BA6C-293C462F7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209B6E-6788-4919-8F84-5D45B6BB9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7CA33A-260A-478D-A3DA-4498320EC4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A9AA184-9C17-4EDE-AD49-F694F4793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0B2637B-81C2-4206-85D8-EED1D8868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0C35169-5EBE-49BF-B4BC-3E92CDFEB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CE9C3F3-0745-4077-8AED-160786859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063C521-C0BF-4A7F-8AC2-C7A7809F7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5.68950000000001</c:v>
                </c:pt>
                <c:pt idx="1">
                  <c:v>191.90969999999999</c:v>
                </c:pt>
                <c:pt idx="2">
                  <c:v>162.45240000000001</c:v>
                </c:pt>
                <c:pt idx="3">
                  <c:v>214.86019999999999</c:v>
                </c:pt>
              </c:numCache>
            </c:numRef>
          </c:xVal>
          <c:yVal>
            <c:numRef>
              <c:f>Sheet1!$B$2:$B$5</c:f>
              <c:numCache>
                <c:formatCode>General</c:formatCode>
                <c:ptCount val="4"/>
                <c:pt idx="0">
                  <c:v>0.97499999999999998</c:v>
                </c:pt>
                <c:pt idx="1">
                  <c:v>0.875</c:v>
                </c:pt>
                <c:pt idx="2">
                  <c:v>0.80700000000000005</c:v>
                </c:pt>
                <c:pt idx="3">
                  <c:v>3.12</c:v>
                </c:pt>
              </c:numCache>
            </c:numRef>
          </c:yVal>
          <c:bubbleSize>
            <c:numRef>
              <c:f>Sheet1!$C$2:$C$5</c:f>
              <c:numCache>
                <c:formatCode>General</c:formatCode>
                <c:ptCount val="4"/>
                <c:pt idx="0">
                  <c:v>28072614</c:v>
                </c:pt>
                <c:pt idx="1">
                  <c:v>21682914</c:v>
                </c:pt>
                <c:pt idx="2">
                  <c:v>4595292</c:v>
                </c:pt>
                <c:pt idx="3">
                  <c:v>1845649</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1"/>
          <c:min val="1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6/23/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2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6/2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3/06/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6/2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3/06/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3/06/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3/06/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6/2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6/2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6/2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2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6/23/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13.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14.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15.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16.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17.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18.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19.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20.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21.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22.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23.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24.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25.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26.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27.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28.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29.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30.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31.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32.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33.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34.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35.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36.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37.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38.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39.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40.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41.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42.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43.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44.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45.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46.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47.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48.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49.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50.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51.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52.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53.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54.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55.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56.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57.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58.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59.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60.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61.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62.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63.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64.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65.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66.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67.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68.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69.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70.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7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172.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173.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174.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175.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176.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177.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178.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179.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180.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181.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182.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183.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184.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185.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186.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187.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188.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189.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190.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19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192.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193.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194.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195.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196.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197.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198.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199.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00.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01.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02.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03.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04.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074184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419615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016888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4858528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656350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3622540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666542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4738682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526690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257548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645206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113342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102746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0719474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894885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919610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87299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3901668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27898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032468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286766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708188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033275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635570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67718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216012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866378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4326640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076257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919153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75455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3462518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8.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3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erap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7.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19.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3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6.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6.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0306170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8.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erap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8.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7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189.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9.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04.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58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6399662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9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5.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9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9.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Banded Pack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5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48.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34.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3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0.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8.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After Su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0.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0056477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7.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58.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4.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6.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6.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7799706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Bají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7.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9.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6.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9.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erap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2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35.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5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00.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9.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7364201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7.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9.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erap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3.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1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7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47.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8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7895575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Cente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7.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3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9.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5.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0.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9.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84.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3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0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358263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215070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8772221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3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8.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8.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3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5.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8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2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7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7475021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5.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8.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4.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9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50.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0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7.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1463248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8.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8.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66.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9.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0.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4.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4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4.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9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46.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0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6527467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6.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8.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5.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8.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74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8.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9626850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Bají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0.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9.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7.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9.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4.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0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0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06.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7.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14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7758855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7.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0.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6.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7.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0.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4.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75.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4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39.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0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5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27.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3513986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Cente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9.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0.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9.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0.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10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40.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3689769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8.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8.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2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99.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2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99.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9.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6167499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Sun Care | Autos Scanning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7.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2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6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0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5.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5.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7.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2706227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Sun Care | Autos Scanning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4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9.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4.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9.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4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9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94.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07.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0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3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8.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141021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858463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8543117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Sun Care | Autos Scanning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7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7.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1.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6.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58.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3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7.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028.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6.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5485355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Sun Care | Autos Scanning Bají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7.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0.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4.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2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6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8.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88.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24.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28.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7.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0.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3412687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Sun Care | Autos Scanning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7.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2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6.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20.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0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6.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3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2780439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Sun Care | Autos Scanning Cente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8.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3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5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5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3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4314606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8.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8.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0.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Ge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0.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7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6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pray Liquido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8.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0.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6.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1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9179907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Sun Care | Autos Scanning Sou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74.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9.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8.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4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Ge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75.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29.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pray Liquido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9.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9.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6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7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9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5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24.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6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8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8526946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Sun Care | Autos Scanning North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8.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3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0.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6.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7.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79.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97.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etaph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Ge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9.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5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40.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Fluido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9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0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2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0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5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pray Liquido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8.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6.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5.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3320744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Sun Care | Autos Scanning Southea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6.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6.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9.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1.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0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4.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pray Liquido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5.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9.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Gel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7.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84.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9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196.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25.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9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34.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8397872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Sun Care | Autos Scanning Bají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18.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8.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7.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7.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Ge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5.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9.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2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6.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4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pray Liquido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1.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8.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2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4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7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9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50.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3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337.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9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6840084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Sun Care | Autos Scanning Wes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9.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7.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3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7.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6.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pray Liquido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7.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78.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0.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Gel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0.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98.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1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4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7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0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4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3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25.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726.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835063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666799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7377840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2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Sun Care | Autos Scanning Cente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9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5.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00.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9.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pray Liquido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1.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Gel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0.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18.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2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6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6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25.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96.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6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3.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1945836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2130525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9038684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Nor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6845046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Sou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8568720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Bají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2589784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6900612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Cent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1266205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2769853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753641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317496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0469058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T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3775603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9915481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5277880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5624270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2258890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073628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982118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7849699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2492589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474457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21635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0278215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5312748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3655484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4728014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9521153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2449534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4397574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5614685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87937255"/>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467842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668824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908887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04261308"/>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32524104"/>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6113022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6879010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2105779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891770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1101210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0663641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2287940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706787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710355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601340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3208632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65657138"/>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44580821"/>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34969347"/>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7519181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17603904"/>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5909850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9019702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5692716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6008258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050304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007167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893391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1989214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7753797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991713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23238830"/>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3318657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41609762"/>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18855118"/>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65419647"/>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4583148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26936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747941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993863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356588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3890074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4059373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19175555"/>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01149987"/>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7344509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23880244"/>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7746056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73252196"/>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85004311"/>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5111692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No Spray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016706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876249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0164383"/>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9252971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99400555"/>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98003556"/>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73848236"/>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0923261"/>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8987433"/>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1748077"/>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No Spray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65554839"/>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88458606"/>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649310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581062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8742755"/>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88187524"/>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47238714"/>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7255611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38909699"/>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77940166"/>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898333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5949878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1163931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No Spray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52409119"/>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21898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653713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98610704"/>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7618215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6260803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2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589843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950117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644733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479894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930016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724631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689378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169490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80826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766546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957181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078917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85798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Nor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503258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886371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767304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551085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165643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691923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532444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345383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27056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862921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109062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236769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58835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81384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541132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12857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520582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707264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281338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64442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302078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147722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Sou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753569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97294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693001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239447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262217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939577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401549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804491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223336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101213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957101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030327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03771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6486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798783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877627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426749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324708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415282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8946012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54479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104900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Bají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33900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733097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53454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418888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262364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9843757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889313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0522488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575237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2130447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753634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638663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452096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262860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097782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725966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359539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530741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138689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2048227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868814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024668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028271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155314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925940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568281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31986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7589318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216261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291375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456331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36820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760715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2366026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98101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176937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286225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176319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324121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04883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671041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741282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974963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80273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Cente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049737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7213285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372335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9113986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673711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7367871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050395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5816373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008141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5164108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039861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9969176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91905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6796094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220946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0722127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83976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482063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795067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182819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670282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01231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722192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9228407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4555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8600851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251095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7497280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598175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4685219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111377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1389404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98319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4101753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921491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0295298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469775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962408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462399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84788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509262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6112676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074745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686472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492344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066388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05532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0224744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312526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9121059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07563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3117601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073954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4125738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044032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1019011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64407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7674351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765621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2598309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974399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9883028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088671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6611645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2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531919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839172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3</TotalTime>
  <Words>21226</Words>
  <Application>Microsoft Office PowerPoint</Application>
  <PresentationFormat>On-screen Show (16:9)</PresentationFormat>
  <Paragraphs>5821</Paragraphs>
  <Slides>232</Slides>
  <Notes>2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32</vt:i4>
      </vt:variant>
    </vt:vector>
  </HeadingPairs>
  <TitlesOfParts>
    <vt:vector size="24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1</cp:revision>
  <dcterms:created xsi:type="dcterms:W3CDTF">2024-07-05T14:56:51Z</dcterms:created>
  <dcterms:modified xsi:type="dcterms:W3CDTF">2025-06-22T23:2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